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4166" r:id="rId4"/>
    <p:sldMasterId id="2147484401" r:id="rId5"/>
    <p:sldMasterId id="2147484418" r:id="rId6"/>
    <p:sldMasterId id="2147484431" r:id="rId7"/>
    <p:sldMasterId id="2147484447" r:id="rId8"/>
    <p:sldMasterId id="2147484489" r:id="rId9"/>
  </p:sldMasterIdLst>
  <p:notesMasterIdLst>
    <p:notesMasterId r:id="rId26"/>
  </p:notesMasterIdLst>
  <p:handoutMasterIdLst>
    <p:handoutMasterId r:id="rId27"/>
  </p:handoutMasterIdLst>
  <p:sldIdLst>
    <p:sldId id="1726328118" r:id="rId10"/>
    <p:sldId id="1726328138" r:id="rId11"/>
    <p:sldId id="1726328139" r:id="rId12"/>
    <p:sldId id="1726328127" r:id="rId13"/>
    <p:sldId id="1726328140" r:id="rId14"/>
    <p:sldId id="1726328129" r:id="rId15"/>
    <p:sldId id="1726328141" r:id="rId16"/>
    <p:sldId id="1726328128" r:id="rId17"/>
    <p:sldId id="1726328142" r:id="rId18"/>
    <p:sldId id="1726328136" r:id="rId19"/>
    <p:sldId id="1726328135" r:id="rId20"/>
    <p:sldId id="1726328134" r:id="rId21"/>
    <p:sldId id="1726328144" r:id="rId22"/>
    <p:sldId id="1726328143" r:id="rId23"/>
    <p:sldId id="1726328133" r:id="rId24"/>
    <p:sldId id="1726328137" r:id="rId25"/>
  </p:sldIdLst>
  <p:sldSz cx="14630400" cy="82296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eneral PNB" id="{2B130332-7371-4281-B24B-7921FEB00278}">
          <p14:sldIdLst>
            <p14:sldId id="1726328118"/>
            <p14:sldId id="1726328138"/>
            <p14:sldId id="1726328139"/>
            <p14:sldId id="1726328127"/>
            <p14:sldId id="1726328140"/>
            <p14:sldId id="1726328129"/>
            <p14:sldId id="1726328141"/>
            <p14:sldId id="1726328128"/>
            <p14:sldId id="1726328142"/>
            <p14:sldId id="1726328136"/>
            <p14:sldId id="1726328135"/>
            <p14:sldId id="1726328134"/>
            <p14:sldId id="1726328144"/>
            <p14:sldId id="1726328143"/>
            <p14:sldId id="1726328133"/>
            <p14:sldId id="1726328137"/>
          </p14:sldIdLst>
        </p14:section>
        <p14:section name="Appendix" id="{12FEDD3C-F7BF-4386-B634-F69103EB189A}">
          <p14:sldIdLst/>
        </p14:section>
      </p14:sectionLst>
    </p:ext>
    <p:ext uri="{EFAFB233-063F-42B5-8137-9DF3F51BA10A}">
      <p15:sldGuideLst xmlns:p15="http://schemas.microsoft.com/office/powerpoint/2012/main">
        <p15:guide id="4" pos="4608">
          <p15:clr>
            <a:srgbClr val="A4A3A4"/>
          </p15:clr>
        </p15:guide>
        <p15:guide id="5" orient="horz" pos="25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son Hulburt" initials="AH" lastIdx="1" clrIdx="0">
    <p:extLst>
      <p:ext uri="{19B8F6BF-5375-455C-9EA6-DF929625EA0E}">
        <p15:presenceInfo xmlns:p15="http://schemas.microsoft.com/office/powerpoint/2012/main" userId="S::ALIHUL@RussellReynolds.com::d20681af-1408-46c8-b736-78c6c9f3251b" providerId="AD"/>
      </p:ext>
    </p:extLst>
  </p:cmAuthor>
  <p:cmAuthor id="2" name="Harsonal Sachar" initials="HS" lastIdx="25" clrIdx="1">
    <p:extLst>
      <p:ext uri="{19B8F6BF-5375-455C-9EA6-DF929625EA0E}">
        <p15:presenceInfo xmlns:p15="http://schemas.microsoft.com/office/powerpoint/2012/main" userId="S::HARSAC@RussellReynolds.com::1c2d6ebf-4ed4-4d58-932f-d0ffe350c5e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0D3C"/>
    <a:srgbClr val="15233C"/>
    <a:srgbClr val="FFC000"/>
    <a:srgbClr val="FFCC00"/>
    <a:srgbClr val="0A2FB5"/>
    <a:srgbClr val="3C7CF5"/>
    <a:srgbClr val="3678F9"/>
    <a:srgbClr val="202022"/>
    <a:srgbClr val="CC00CC"/>
    <a:srgbClr val="C9E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75" autoAdjust="0"/>
    <p:restoredTop sz="94608" autoAdjust="0"/>
  </p:normalViewPr>
  <p:slideViewPr>
    <p:cSldViewPr snapToGrid="0">
      <p:cViewPr varScale="1">
        <p:scale>
          <a:sx n="109" d="100"/>
          <a:sy n="109" d="100"/>
        </p:scale>
        <p:origin x="624" y="192"/>
      </p:cViewPr>
      <p:guideLst>
        <p:guide pos="4608"/>
        <p:guide orient="horz" pos="25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4" d="100"/>
        <a:sy n="54" d="100"/>
      </p:scale>
      <p:origin x="0" y="-4080"/>
    </p:cViewPr>
  </p:sorterViewPr>
  <p:notesViewPr>
    <p:cSldViewPr snapToGrid="0">
      <p:cViewPr>
        <p:scale>
          <a:sx n="1" d="2"/>
          <a:sy n="1" d="2"/>
        </p:scale>
        <p:origin x="3792" y="105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4D4B11-9A1E-6F46-87DC-B3B96434A9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44B9EB-F1C2-2D45-A435-2B73260BC6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FD432-6905-7340-B123-FD524AE3F5E4}" type="datetimeFigureOut">
              <a:rPr lang="en-US" smtClean="0">
                <a:latin typeface="Segoe UI" panose="020B0502040204020203" pitchFamily="34" charset="0"/>
              </a:rPr>
              <a:t>6/22/22</a:t>
            </a:fld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EA0973-A3D3-D946-89C3-ED4FED502D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BA04AB-2FC0-D141-986D-FE3317B07C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4A4EF8-EAF9-6947-87A8-8614CAC88561}" type="slidenum">
              <a:rPr lang="en-US" smtClean="0">
                <a:latin typeface="Segoe UI" panose="020B0502040204020203" pitchFamily="34" charset="0"/>
              </a:rPr>
              <a:t>‹#›</a:t>
            </a:fld>
            <a:endParaRPr lang="en-US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148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egoe UI" panose="020B0502040204020203" pitchFamily="34" charset="0"/>
              </a:defRPr>
            </a:lvl1pPr>
          </a:lstStyle>
          <a:p>
            <a:fld id="{E8A8F20E-7B0B-E74C-8E51-C6759924A7D4}" type="datetimeFigureOut">
              <a:rPr lang="en-US" smtClean="0"/>
              <a:pPr/>
              <a:t>6/2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egoe UI" panose="020B0502040204020203" pitchFamily="34" charset="0"/>
              </a:defRPr>
            </a:lvl1pPr>
          </a:lstStyle>
          <a:p>
            <a:fld id="{67E37107-5B3B-C144-9AF1-F4F03A8099C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638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7280" rtl="0" eaLnBrk="1" latinLnBrk="0" hangingPunct="1">
      <a:defRPr sz="144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1pPr>
    <a:lvl2pPr marL="548640" algn="l" defTabSz="1097280" rtl="0" eaLnBrk="1" latinLnBrk="0" hangingPunct="1">
      <a:defRPr sz="144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2pPr>
    <a:lvl3pPr marL="1097280" algn="l" defTabSz="1097280" rtl="0" eaLnBrk="1" latinLnBrk="0" hangingPunct="1">
      <a:defRPr sz="144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3pPr>
    <a:lvl4pPr marL="1645920" algn="l" defTabSz="1097280" rtl="0" eaLnBrk="1" latinLnBrk="0" hangingPunct="1">
      <a:defRPr sz="144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4pPr>
    <a:lvl5pPr marL="2194560" algn="l" defTabSz="1097280" rtl="0" eaLnBrk="1" latinLnBrk="0" hangingPunct="1">
      <a:defRPr sz="1440" b="0" i="0" kern="1200">
        <a:solidFill>
          <a:schemeClr val="tx1"/>
        </a:solidFill>
        <a:latin typeface="Segoe UI" panose="020B0502040204020203" pitchFamily="34" charset="0"/>
        <a:ea typeface="+mn-ea"/>
        <a:cs typeface="+mn-cs"/>
      </a:defRPr>
    </a:lvl5pPr>
    <a:lvl6pPr marL="274320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5AE949-3B96-4793-9B60-F74159D09B9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4663" y="1892300"/>
            <a:ext cx="13681075" cy="5519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7372AC-71B5-45A7-BD0A-F79312CD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043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F0DB953-96BB-43B2-A326-7A50811782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1864" y="5588334"/>
            <a:ext cx="2103120" cy="1787384"/>
          </a:xfrm>
          <a:prstGeom prst="rect">
            <a:avLst/>
          </a:prstGeom>
        </p:spPr>
        <p:txBody>
          <a:bodyPr/>
          <a:lstStyle>
            <a:lvl1pPr>
              <a:defRPr sz="1400" b="1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FDE71FD-DFBE-458A-83E4-B44F173349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1864" y="3391281"/>
            <a:ext cx="2103120" cy="210312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FC463C-7B0A-4B72-BA38-C917D9311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32">
            <a:extLst>
              <a:ext uri="{FF2B5EF4-FFF2-40B4-BE49-F238E27FC236}">
                <a16:creationId xmlns:a16="http://schemas.microsoft.com/office/drawing/2014/main" id="{43806B9F-ADA0-4764-B503-DCA8DC711A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39180" y="5588334"/>
            <a:ext cx="2103120" cy="1787384"/>
          </a:xfrm>
          <a:prstGeom prst="rect">
            <a:avLst/>
          </a:prstGeom>
        </p:spPr>
        <p:txBody>
          <a:bodyPr/>
          <a:lstStyle>
            <a:lvl1pPr>
              <a:defRPr sz="1400" b="1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9" name="Picture Placeholder 30">
            <a:extLst>
              <a:ext uri="{FF2B5EF4-FFF2-40B4-BE49-F238E27FC236}">
                <a16:creationId xmlns:a16="http://schemas.microsoft.com/office/drawing/2014/main" id="{481E4C24-6BBA-41E9-A8E6-40B671E4664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439180" y="3391281"/>
            <a:ext cx="2103120" cy="210312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Text Placeholder 32">
            <a:extLst>
              <a:ext uri="{FF2B5EF4-FFF2-40B4-BE49-F238E27FC236}">
                <a16:creationId xmlns:a16="http://schemas.microsoft.com/office/drawing/2014/main" id="{85FFA722-AF85-4155-9A33-075C188B77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26496" y="5588334"/>
            <a:ext cx="2103120" cy="1787384"/>
          </a:xfrm>
          <a:prstGeom prst="rect">
            <a:avLst/>
          </a:prstGeom>
        </p:spPr>
        <p:txBody>
          <a:bodyPr/>
          <a:lstStyle>
            <a:lvl1pPr>
              <a:defRPr sz="1400" b="1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1" name="Picture Placeholder 30">
            <a:extLst>
              <a:ext uri="{FF2B5EF4-FFF2-40B4-BE49-F238E27FC236}">
                <a16:creationId xmlns:a16="http://schemas.microsoft.com/office/drawing/2014/main" id="{CB20CDB9-9888-4702-9695-B6628B92A38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226496" y="3391281"/>
            <a:ext cx="2103120" cy="210312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Text Placeholder 32">
            <a:extLst>
              <a:ext uri="{FF2B5EF4-FFF2-40B4-BE49-F238E27FC236}">
                <a16:creationId xmlns:a16="http://schemas.microsoft.com/office/drawing/2014/main" id="{C32966F8-33ED-4A01-BE62-20982AA3DB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13812" y="5588334"/>
            <a:ext cx="2103120" cy="1787384"/>
          </a:xfrm>
          <a:prstGeom prst="rect">
            <a:avLst/>
          </a:prstGeom>
        </p:spPr>
        <p:txBody>
          <a:bodyPr/>
          <a:lstStyle>
            <a:lvl1pPr>
              <a:defRPr sz="1400" b="1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3" name="Picture Placeholder 30">
            <a:extLst>
              <a:ext uri="{FF2B5EF4-FFF2-40B4-BE49-F238E27FC236}">
                <a16:creationId xmlns:a16="http://schemas.microsoft.com/office/drawing/2014/main" id="{71F0B4F9-5DC9-4E9A-9F71-B62B0237894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13812" y="3391281"/>
            <a:ext cx="2103120" cy="210312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3098A92C-131F-4175-9ADD-CF158076ADB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801127" y="5588334"/>
            <a:ext cx="2103120" cy="1787384"/>
          </a:xfrm>
          <a:prstGeom prst="rect">
            <a:avLst/>
          </a:prstGeom>
        </p:spPr>
        <p:txBody>
          <a:bodyPr/>
          <a:lstStyle>
            <a:lvl1pPr>
              <a:defRPr sz="1400" b="1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5" name="Picture Placeholder 30">
            <a:extLst>
              <a:ext uri="{FF2B5EF4-FFF2-40B4-BE49-F238E27FC236}">
                <a16:creationId xmlns:a16="http://schemas.microsoft.com/office/drawing/2014/main" id="{959FA826-4305-4530-9EAD-C74D93A5A6E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1801127" y="3391281"/>
            <a:ext cx="2103120" cy="210312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88892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redentials - 5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EFF9F9F-4D4D-469B-AA22-76DCD9650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66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4" imgW="262" imgH="262" progId="TCLayout.ActiveDocument.1">
                  <p:embed/>
                </p:oleObj>
              </mc:Choice>
              <mc:Fallback>
                <p:oleObj name="think-cell Slide" r:id="rId4" imgW="262" imgH="2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EFF9F9F-4D4D-469B-AA22-76DCD9650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B80D5A-A562-4D8D-9A07-CD12EB285F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143" y="465596"/>
            <a:ext cx="13681075" cy="1152979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redentials </a:t>
            </a:r>
            <a:r>
              <a:rPr lang="en-US"/>
              <a:t>– 5x2</a:t>
            </a:r>
            <a:endParaRPr lang="en-US" dirty="0"/>
          </a:p>
        </p:txBody>
      </p:sp>
      <p:sp>
        <p:nvSpPr>
          <p:cNvPr id="110" name="Picture Placeholder 15">
            <a:extLst>
              <a:ext uri="{FF2B5EF4-FFF2-40B4-BE49-F238E27FC236}">
                <a16:creationId xmlns:a16="http://schemas.microsoft.com/office/drawing/2014/main" id="{921724F4-7A75-4CA0-A9B8-5E2EEA6EF16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641" y="2248913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11" name="Text Placeholder 8">
            <a:extLst>
              <a:ext uri="{FF2B5EF4-FFF2-40B4-BE49-F238E27FC236}">
                <a16:creationId xmlns:a16="http://schemas.microsoft.com/office/drawing/2014/main" id="{061B06AE-4102-428C-BED0-F5D42C1B15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0641" y="3067095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12" name="Picture Placeholder 15">
            <a:extLst>
              <a:ext uri="{FF2B5EF4-FFF2-40B4-BE49-F238E27FC236}">
                <a16:creationId xmlns:a16="http://schemas.microsoft.com/office/drawing/2014/main" id="{5B609549-EA69-4749-B3CD-14CFCDDF673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437041" y="2248913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13" name="Picture Placeholder 15">
            <a:extLst>
              <a:ext uri="{FF2B5EF4-FFF2-40B4-BE49-F238E27FC236}">
                <a16:creationId xmlns:a16="http://schemas.microsoft.com/office/drawing/2014/main" id="{606029E3-E37E-4164-8A73-D60B98780F2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379106" y="2248913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15" name="Picture Placeholder 15">
            <a:extLst>
              <a:ext uri="{FF2B5EF4-FFF2-40B4-BE49-F238E27FC236}">
                <a16:creationId xmlns:a16="http://schemas.microsoft.com/office/drawing/2014/main" id="{8DB3E0DF-6A0E-496A-8989-3DB835E320C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37154" y="2248913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16" name="Picture Placeholder 15">
            <a:extLst>
              <a:ext uri="{FF2B5EF4-FFF2-40B4-BE49-F238E27FC236}">
                <a16:creationId xmlns:a16="http://schemas.microsoft.com/office/drawing/2014/main" id="{119E38DD-DD89-4B99-B092-41E638FCB7E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2275527" y="2248913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17" name="Text Placeholder 8">
            <a:extLst>
              <a:ext uri="{FF2B5EF4-FFF2-40B4-BE49-F238E27FC236}">
                <a16:creationId xmlns:a16="http://schemas.microsoft.com/office/drawing/2014/main" id="{358426E2-D4D3-43E4-9CFF-EA4920C6447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9660" y="3067095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18" name="Text Placeholder 8">
            <a:extLst>
              <a:ext uri="{FF2B5EF4-FFF2-40B4-BE49-F238E27FC236}">
                <a16:creationId xmlns:a16="http://schemas.microsoft.com/office/drawing/2014/main" id="{80694DDB-ED13-4227-8B5D-12FE083C207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71725" y="3067095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20" name="Text Placeholder 8">
            <a:extLst>
              <a:ext uri="{FF2B5EF4-FFF2-40B4-BE49-F238E27FC236}">
                <a16:creationId xmlns:a16="http://schemas.microsoft.com/office/drawing/2014/main" id="{91775574-2A43-4F9B-8B4A-BEFCE93911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29773" y="3067095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21" name="Text Placeholder 8">
            <a:extLst>
              <a:ext uri="{FF2B5EF4-FFF2-40B4-BE49-F238E27FC236}">
                <a16:creationId xmlns:a16="http://schemas.microsoft.com/office/drawing/2014/main" id="{96052F2E-DCF0-49C5-BDB1-6E8294BD70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275527" y="3067095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22" name="Picture Placeholder 15">
            <a:extLst>
              <a:ext uri="{FF2B5EF4-FFF2-40B4-BE49-F238E27FC236}">
                <a16:creationId xmlns:a16="http://schemas.microsoft.com/office/drawing/2014/main" id="{206E948E-79BB-4C3F-A70B-0AF2D080F9F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70641" y="4417200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23" name="Picture Placeholder 15">
            <a:extLst>
              <a:ext uri="{FF2B5EF4-FFF2-40B4-BE49-F238E27FC236}">
                <a16:creationId xmlns:a16="http://schemas.microsoft.com/office/drawing/2014/main" id="{1F13C224-D508-4C7D-99C5-B25C76EC53A1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438431" y="4417200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24" name="Picture Placeholder 15">
            <a:extLst>
              <a:ext uri="{FF2B5EF4-FFF2-40B4-BE49-F238E27FC236}">
                <a16:creationId xmlns:a16="http://schemas.microsoft.com/office/drawing/2014/main" id="{3AD902B9-C53E-4D3D-8B71-5CC34817A884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80149" y="4417200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26" name="Picture Placeholder 15">
            <a:extLst>
              <a:ext uri="{FF2B5EF4-FFF2-40B4-BE49-F238E27FC236}">
                <a16:creationId xmlns:a16="http://schemas.microsoft.com/office/drawing/2014/main" id="{7CEF37E1-3960-4DC3-BA44-C29E3DAFF573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337503" y="4417200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27" name="Picture Placeholder 15">
            <a:extLst>
              <a:ext uri="{FF2B5EF4-FFF2-40B4-BE49-F238E27FC236}">
                <a16:creationId xmlns:a16="http://schemas.microsoft.com/office/drawing/2014/main" id="{EA164A8F-0D5E-4A4E-993F-62F49C6FB80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2275527" y="4417200"/>
            <a:ext cx="1872000" cy="818182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128" name="Text Placeholder 8">
            <a:extLst>
              <a:ext uri="{FF2B5EF4-FFF2-40B4-BE49-F238E27FC236}">
                <a16:creationId xmlns:a16="http://schemas.microsoft.com/office/drawing/2014/main" id="{B2FAFD4D-AA6D-4FE8-BE4E-61C17084E02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70641" y="5235382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29" name="Text Placeholder 8">
            <a:extLst>
              <a:ext uri="{FF2B5EF4-FFF2-40B4-BE49-F238E27FC236}">
                <a16:creationId xmlns:a16="http://schemas.microsoft.com/office/drawing/2014/main" id="{1D23508B-51A1-4555-991E-1D3B1810866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437041" y="5235382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30" name="Text Placeholder 8">
            <a:extLst>
              <a:ext uri="{FF2B5EF4-FFF2-40B4-BE49-F238E27FC236}">
                <a16:creationId xmlns:a16="http://schemas.microsoft.com/office/drawing/2014/main" id="{E94F06FD-AD81-4E2D-8DC4-9BBC48E43B9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79106" y="5235382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32" name="Text Placeholder 8">
            <a:extLst>
              <a:ext uri="{FF2B5EF4-FFF2-40B4-BE49-F238E27FC236}">
                <a16:creationId xmlns:a16="http://schemas.microsoft.com/office/drawing/2014/main" id="{FA60A2AF-EFFE-40E5-8875-6AB30DED32B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37154" y="5235382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33" name="Text Placeholder 8">
            <a:extLst>
              <a:ext uri="{FF2B5EF4-FFF2-40B4-BE49-F238E27FC236}">
                <a16:creationId xmlns:a16="http://schemas.microsoft.com/office/drawing/2014/main" id="{4BE35E04-06F0-4CA9-8DB2-E8EF148125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2275527" y="5235382"/>
            <a:ext cx="1872000" cy="312470"/>
          </a:xfrm>
          <a:prstGeom prst="rect">
            <a:avLst/>
          </a:prstGeom>
        </p:spPr>
        <p:txBody>
          <a:bodyPr tIns="36000"/>
          <a:lstStyle>
            <a:lvl1pPr algn="ctr">
              <a:defRPr sz="1100" b="0"/>
            </a:lvl1pPr>
          </a:lstStyle>
          <a:p>
            <a:pPr lvl="0"/>
            <a:r>
              <a:rPr lang="en-US" dirty="0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4010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02CD4B-E653-4CC0-900C-73EE1A856C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4630400" cy="8229601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1F1FDF-0A0F-41D1-BACD-FA698B30B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49" y="7089053"/>
            <a:ext cx="1756800" cy="6627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1587" y="795687"/>
            <a:ext cx="4712752" cy="3111873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050" y="4617638"/>
            <a:ext cx="4713289" cy="1878412"/>
          </a:xfrm>
        </p:spPr>
        <p:txBody>
          <a:bodyPr/>
          <a:lstStyle>
            <a:lvl1pPr marL="0" indent="0" algn="l">
              <a:spcBef>
                <a:spcPts val="180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0" indent="0" algn="l">
              <a:spcBef>
                <a:spcPts val="180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</a:p>
          <a:p>
            <a:pPr lvl="1"/>
            <a:r>
              <a:rPr lang="en-US"/>
              <a:t>Level 2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984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2" pos="4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7BF5D-A7F7-4DDF-A725-485C233375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663" y="1900224"/>
            <a:ext cx="13681075" cy="538322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DBFAE21-077F-44D0-B3DD-66F715BBD1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69658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 big numb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779D74-7E9A-48DC-A1D2-04FCF47FD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4E49-C379-4FD6-A198-05055D86B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F31666-D62E-4E3A-B6C9-F3A701E67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B1FD583-7765-4842-8B56-537BA9608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887" y="220207"/>
            <a:ext cx="5993103" cy="6589060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 sz="40000" b="0">
                <a:solidFill>
                  <a:srgbClr val="488CFF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0E3BBB0-3A5E-42F1-8A90-E859303A1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3217" y="2235762"/>
            <a:ext cx="10392522" cy="1836783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7200"/>
            </a:lvl1pPr>
          </a:lstStyle>
          <a:p>
            <a:r>
              <a:rPr lang="en-US"/>
              <a:t>Click to edit Master tit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AB82B6-AD98-4743-9559-677672C6F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6280" y="4107149"/>
            <a:ext cx="5486402" cy="88778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6443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346836"/>
            <a:ext cx="12435840" cy="286512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22446"/>
            <a:ext cx="109728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12" indent="0" algn="ctr">
              <a:buNone/>
              <a:defRPr sz="2400"/>
            </a:lvl2pPr>
            <a:lvl3pPr marL="1097224" indent="0" algn="ctr">
              <a:buNone/>
              <a:defRPr sz="2160"/>
            </a:lvl3pPr>
            <a:lvl4pPr marL="1645836" indent="0" algn="ctr">
              <a:buNone/>
              <a:defRPr sz="1920"/>
            </a:lvl4pPr>
            <a:lvl5pPr marL="2194447" indent="0" algn="ctr">
              <a:buNone/>
              <a:defRPr sz="1920"/>
            </a:lvl5pPr>
            <a:lvl6pPr marL="2743060" indent="0" algn="ctr">
              <a:buNone/>
              <a:defRPr sz="1920"/>
            </a:lvl6pPr>
            <a:lvl7pPr marL="3291672" indent="0" algn="ctr">
              <a:buNone/>
              <a:defRPr sz="1920"/>
            </a:lvl7pPr>
            <a:lvl8pPr marL="3840283" indent="0" algn="ctr">
              <a:buNone/>
              <a:defRPr sz="1920"/>
            </a:lvl8pPr>
            <a:lvl9pPr marL="4388896" indent="0" algn="ctr">
              <a:buNone/>
              <a:defRPr sz="192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16170060"/>
      </p:ext>
    </p:extLst>
  </p:cSld>
  <p:clrMapOvr>
    <a:masterClrMapping/>
  </p:clrMapOvr>
  <p:transition spd="med" advClick="0" advTm="5000"/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76082884"/>
      </p:ext>
    </p:extLst>
  </p:cSld>
  <p:clrMapOvr>
    <a:masterClrMapping/>
  </p:clrMapOvr>
  <p:transition spd="med" advClick="0" advTm="500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8220" y="2051688"/>
            <a:ext cx="12618720" cy="3423284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8220" y="5507359"/>
            <a:ext cx="12618720" cy="1800224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/>
                </a:solidFill>
              </a:defRPr>
            </a:lvl1pPr>
            <a:lvl2pPr marL="54861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24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836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447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0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672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283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8896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38109225"/>
      </p:ext>
    </p:extLst>
  </p:cSld>
  <p:clrMapOvr>
    <a:masterClrMapping/>
  </p:clrMapOvr>
  <p:transition spd="med" advClick="0" advTm="5000"/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5840" y="2190750"/>
            <a:ext cx="6217920" cy="52216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06640" y="2190750"/>
            <a:ext cx="6217920" cy="52216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95923876"/>
      </p:ext>
    </p:extLst>
  </p:cSld>
  <p:clrMapOvr>
    <a:masterClrMapping/>
  </p:clrMapOvr>
  <p:transition spd="med" advClick="0" advTm="5000"/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438153"/>
            <a:ext cx="12618720" cy="15906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7748" y="2017396"/>
            <a:ext cx="6189344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12" indent="0">
              <a:buNone/>
              <a:defRPr sz="2400" b="1"/>
            </a:lvl2pPr>
            <a:lvl3pPr marL="1097224" indent="0">
              <a:buNone/>
              <a:defRPr sz="2160" b="1"/>
            </a:lvl3pPr>
            <a:lvl4pPr marL="1645836" indent="0">
              <a:buNone/>
              <a:defRPr sz="1920" b="1"/>
            </a:lvl4pPr>
            <a:lvl5pPr marL="2194447" indent="0">
              <a:buNone/>
              <a:defRPr sz="1920" b="1"/>
            </a:lvl5pPr>
            <a:lvl6pPr marL="2743060" indent="0">
              <a:buNone/>
              <a:defRPr sz="1920" b="1"/>
            </a:lvl6pPr>
            <a:lvl7pPr marL="3291672" indent="0">
              <a:buNone/>
              <a:defRPr sz="1920" b="1"/>
            </a:lvl7pPr>
            <a:lvl8pPr marL="3840283" indent="0">
              <a:buNone/>
              <a:defRPr sz="1920" b="1"/>
            </a:lvl8pPr>
            <a:lvl9pPr marL="4388896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7748" y="3006090"/>
            <a:ext cx="6189344" cy="44215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06641" y="2017396"/>
            <a:ext cx="6219826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12" indent="0">
              <a:buNone/>
              <a:defRPr sz="2400" b="1"/>
            </a:lvl2pPr>
            <a:lvl3pPr marL="1097224" indent="0">
              <a:buNone/>
              <a:defRPr sz="2160" b="1"/>
            </a:lvl3pPr>
            <a:lvl4pPr marL="1645836" indent="0">
              <a:buNone/>
              <a:defRPr sz="1920" b="1"/>
            </a:lvl4pPr>
            <a:lvl5pPr marL="2194447" indent="0">
              <a:buNone/>
              <a:defRPr sz="1920" b="1"/>
            </a:lvl5pPr>
            <a:lvl6pPr marL="2743060" indent="0">
              <a:buNone/>
              <a:defRPr sz="1920" b="1"/>
            </a:lvl6pPr>
            <a:lvl7pPr marL="3291672" indent="0">
              <a:buNone/>
              <a:defRPr sz="1920" b="1"/>
            </a:lvl7pPr>
            <a:lvl8pPr marL="3840283" indent="0">
              <a:buNone/>
              <a:defRPr sz="1920" b="1"/>
            </a:lvl8pPr>
            <a:lvl9pPr marL="4388896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06641" y="3006090"/>
            <a:ext cx="6219826" cy="44215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24838955"/>
      </p:ext>
    </p:extLst>
  </p:cSld>
  <p:clrMapOvr>
    <a:masterClrMapping/>
  </p:clrMapOvr>
  <p:transition spd="med" advClick="0" advTm="5000"/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RA Subheading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84325-5BF7-4E1E-A3C1-9BECAC767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17CFE5-C8A0-4B65-8247-B7FF441784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013" y="1653005"/>
            <a:ext cx="13668375" cy="416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5EB232-0206-4021-BEE2-790C02A461F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4663" y="2166730"/>
            <a:ext cx="13681075" cy="52453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84495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6979385"/>
      </p:ext>
    </p:extLst>
  </p:cSld>
  <p:clrMapOvr>
    <a:masterClrMapping/>
  </p:clrMapOvr>
  <p:transition spd="med" advClick="0" advTm="5000"/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63037673"/>
      </p:ext>
    </p:extLst>
  </p:cSld>
  <p:clrMapOvr>
    <a:masterClrMapping/>
  </p:clrMapOvr>
  <p:transition spd="med" advClick="0" advTm="5000"/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9826" y="1184913"/>
            <a:ext cx="7406640" cy="584835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12" indent="0">
              <a:buNone/>
              <a:defRPr sz="1680"/>
            </a:lvl2pPr>
            <a:lvl3pPr marL="1097224" indent="0">
              <a:buNone/>
              <a:defRPr sz="1440"/>
            </a:lvl3pPr>
            <a:lvl4pPr marL="1645836" indent="0">
              <a:buNone/>
              <a:defRPr sz="1200"/>
            </a:lvl4pPr>
            <a:lvl5pPr marL="2194447" indent="0">
              <a:buNone/>
              <a:defRPr sz="1200"/>
            </a:lvl5pPr>
            <a:lvl6pPr marL="2743060" indent="0">
              <a:buNone/>
              <a:defRPr sz="1200"/>
            </a:lvl6pPr>
            <a:lvl7pPr marL="3291672" indent="0">
              <a:buNone/>
              <a:defRPr sz="1200"/>
            </a:lvl7pPr>
            <a:lvl8pPr marL="3840283" indent="0">
              <a:buNone/>
              <a:defRPr sz="1200"/>
            </a:lvl8pPr>
            <a:lvl9pPr marL="4388896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65540478"/>
      </p:ext>
    </p:extLst>
  </p:cSld>
  <p:clrMapOvr>
    <a:masterClrMapping/>
  </p:clrMapOvr>
  <p:transition spd="med" advClick="0" advTm="5000"/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219826" y="1184913"/>
            <a:ext cx="7406640" cy="5848350"/>
          </a:xfrm>
        </p:spPr>
        <p:txBody>
          <a:bodyPr anchor="t"/>
          <a:lstStyle>
            <a:lvl1pPr marL="0" indent="0">
              <a:buNone/>
              <a:defRPr sz="3840"/>
            </a:lvl1pPr>
            <a:lvl2pPr marL="548612" indent="0">
              <a:buNone/>
              <a:defRPr sz="3360"/>
            </a:lvl2pPr>
            <a:lvl3pPr marL="1097224" indent="0">
              <a:buNone/>
              <a:defRPr sz="2880"/>
            </a:lvl3pPr>
            <a:lvl4pPr marL="1645836" indent="0">
              <a:buNone/>
              <a:defRPr sz="2400"/>
            </a:lvl4pPr>
            <a:lvl5pPr marL="2194447" indent="0">
              <a:buNone/>
              <a:defRPr sz="2400"/>
            </a:lvl5pPr>
            <a:lvl6pPr marL="2743060" indent="0">
              <a:buNone/>
              <a:defRPr sz="2400"/>
            </a:lvl6pPr>
            <a:lvl7pPr marL="3291672" indent="0">
              <a:buNone/>
              <a:defRPr sz="2400"/>
            </a:lvl7pPr>
            <a:lvl8pPr marL="3840283" indent="0">
              <a:buNone/>
              <a:defRPr sz="2400"/>
            </a:lvl8pPr>
            <a:lvl9pPr marL="4388896" indent="0">
              <a:buNone/>
              <a:defRPr sz="24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12" indent="0">
              <a:buNone/>
              <a:defRPr sz="1680"/>
            </a:lvl2pPr>
            <a:lvl3pPr marL="1097224" indent="0">
              <a:buNone/>
              <a:defRPr sz="1440"/>
            </a:lvl3pPr>
            <a:lvl4pPr marL="1645836" indent="0">
              <a:buNone/>
              <a:defRPr sz="1200"/>
            </a:lvl4pPr>
            <a:lvl5pPr marL="2194447" indent="0">
              <a:buNone/>
              <a:defRPr sz="1200"/>
            </a:lvl5pPr>
            <a:lvl6pPr marL="2743060" indent="0">
              <a:buNone/>
              <a:defRPr sz="1200"/>
            </a:lvl6pPr>
            <a:lvl7pPr marL="3291672" indent="0">
              <a:buNone/>
              <a:defRPr sz="1200"/>
            </a:lvl7pPr>
            <a:lvl8pPr marL="3840283" indent="0">
              <a:buNone/>
              <a:defRPr sz="1200"/>
            </a:lvl8pPr>
            <a:lvl9pPr marL="4388896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0823182"/>
      </p:ext>
    </p:extLst>
  </p:cSld>
  <p:clrMapOvr>
    <a:masterClrMapping/>
  </p:clrMapOvr>
  <p:transition spd="med" advClick="0" advTm="5000"/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50316772"/>
      </p:ext>
    </p:extLst>
  </p:cSld>
  <p:clrMapOvr>
    <a:masterClrMapping/>
  </p:clrMapOvr>
  <p:transition spd="med" advClick="0" advTm="5000"/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69881" y="438150"/>
            <a:ext cx="3154680" cy="6974206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5841" y="438150"/>
            <a:ext cx="9281160" cy="6974206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30551841"/>
      </p:ext>
    </p:extLst>
  </p:cSld>
  <p:clrMapOvr>
    <a:masterClrMapping/>
  </p:clrMapOvr>
  <p:transition spd="med" advClick="0" advTm="5000"/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31924154"/>
      </p:ext>
    </p:extLst>
  </p:cSld>
  <p:clrMapOvr>
    <a:masterClrMapping/>
  </p:clrMapOvr>
  <p:transition spd="med" advClick="0" advTm="5000"/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02CD4B-E653-4CC0-900C-73EE1A856C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4630400" cy="8229601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1F1FDF-0A0F-41D1-BACD-FA698B30B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49" y="7089053"/>
            <a:ext cx="1756800" cy="6627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1587" y="795687"/>
            <a:ext cx="4712752" cy="3111873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050" y="4617638"/>
            <a:ext cx="4713289" cy="1878412"/>
          </a:xfrm>
        </p:spPr>
        <p:txBody>
          <a:bodyPr/>
          <a:lstStyle>
            <a:lvl1pPr marL="0" indent="0" algn="l">
              <a:spcBef>
                <a:spcPts val="180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0" indent="0" algn="l">
              <a:spcBef>
                <a:spcPts val="180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</a:p>
          <a:p>
            <a:pPr lvl="1"/>
            <a:r>
              <a:rPr lang="en-US"/>
              <a:t>Level 2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8313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2" pos="4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 big numb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779D74-7E9A-48DC-A1D2-04FCF47FD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4E49-C379-4FD6-A198-05055D86B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F31666-D62E-4E3A-B6C9-F3A701E67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B1FD583-7765-4842-8B56-537BA9608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887" y="220207"/>
            <a:ext cx="5993103" cy="6589060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 sz="40000" b="0">
                <a:solidFill>
                  <a:srgbClr val="488CFF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0E3BBB0-3A5E-42F1-8A90-E859303A1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3217" y="2235762"/>
            <a:ext cx="10392522" cy="1836783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7200"/>
            </a:lvl1pPr>
          </a:lstStyle>
          <a:p>
            <a:r>
              <a:rPr lang="en-US"/>
              <a:t>Click to edit Master tit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AB82B6-AD98-4743-9559-677672C6F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6280" y="4107149"/>
            <a:ext cx="5486402" cy="88778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410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5AE949-3B96-4793-9B60-F74159D09B9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4663" y="1892300"/>
            <a:ext cx="13681075" cy="5519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7372AC-71B5-45A7-BD0A-F79312CD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8760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RA 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84325-5BF7-4E1E-A3C1-9BECAC767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88215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RA Subheading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84325-5BF7-4E1E-A3C1-9BECAC767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17CFE5-C8A0-4B65-8247-B7FF441784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013" y="1653005"/>
            <a:ext cx="13668375" cy="416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5EB232-0206-4021-BEE2-790C02A461F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4663" y="2166730"/>
            <a:ext cx="13681075" cy="52453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6279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2"/>
            <a:ext cx="12435840" cy="176403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654632"/>
      </p:ext>
    </p:extLst>
  </p:cSld>
  <p:clrMapOvr>
    <a:masterClrMapping/>
  </p:clrMapOvr>
  <p:transition spd="med" advClick="0" advTm="500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082770"/>
      </p:ext>
    </p:extLst>
  </p:cSld>
  <p:clrMapOvr>
    <a:masterClrMapping/>
  </p:clrMapOvr>
  <p:transition spd="med" advClick="0" advTm="500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2"/>
            <a:ext cx="12435840" cy="1634490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8"/>
            <a:ext cx="12435840" cy="1800224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8612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24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836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44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0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672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283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8896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810708"/>
      </p:ext>
    </p:extLst>
  </p:cSld>
  <p:clrMapOvr>
    <a:masterClrMapping/>
  </p:clrMapOvr>
  <p:transition spd="med" advClick="0" advTm="500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1" y="1920242"/>
            <a:ext cx="6461760" cy="5431156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920242"/>
            <a:ext cx="6461760" cy="5431156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236686"/>
      </p:ext>
    </p:extLst>
  </p:cSld>
  <p:clrMapOvr>
    <a:masterClrMapping/>
  </p:clrMapOvr>
  <p:transition spd="med" advClick="0" advTm="500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2" y="1842136"/>
            <a:ext cx="6464300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12" indent="0">
              <a:buNone/>
              <a:defRPr sz="2400" b="1"/>
            </a:lvl2pPr>
            <a:lvl3pPr marL="1097224" indent="0">
              <a:buNone/>
              <a:defRPr sz="2160" b="1"/>
            </a:lvl3pPr>
            <a:lvl4pPr marL="1645836" indent="0">
              <a:buNone/>
              <a:defRPr sz="1920" b="1"/>
            </a:lvl4pPr>
            <a:lvl5pPr marL="2194447" indent="0">
              <a:buNone/>
              <a:defRPr sz="1920" b="1"/>
            </a:lvl5pPr>
            <a:lvl6pPr marL="2743060" indent="0">
              <a:buNone/>
              <a:defRPr sz="1920" b="1"/>
            </a:lvl6pPr>
            <a:lvl7pPr marL="3291672" indent="0">
              <a:buNone/>
              <a:defRPr sz="1920" b="1"/>
            </a:lvl7pPr>
            <a:lvl8pPr marL="3840283" indent="0">
              <a:buNone/>
              <a:defRPr sz="1920" b="1"/>
            </a:lvl8pPr>
            <a:lvl9pPr marL="4388896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2" y="2609850"/>
            <a:ext cx="6464300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2" y="1842136"/>
            <a:ext cx="6466840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12" indent="0">
              <a:buNone/>
              <a:defRPr sz="2400" b="1"/>
            </a:lvl2pPr>
            <a:lvl3pPr marL="1097224" indent="0">
              <a:buNone/>
              <a:defRPr sz="2160" b="1"/>
            </a:lvl3pPr>
            <a:lvl4pPr marL="1645836" indent="0">
              <a:buNone/>
              <a:defRPr sz="1920" b="1"/>
            </a:lvl4pPr>
            <a:lvl5pPr marL="2194447" indent="0">
              <a:buNone/>
              <a:defRPr sz="1920" b="1"/>
            </a:lvl5pPr>
            <a:lvl6pPr marL="2743060" indent="0">
              <a:buNone/>
              <a:defRPr sz="1920" b="1"/>
            </a:lvl6pPr>
            <a:lvl7pPr marL="3291672" indent="0">
              <a:buNone/>
              <a:defRPr sz="1920" b="1"/>
            </a:lvl7pPr>
            <a:lvl8pPr marL="3840283" indent="0">
              <a:buNone/>
              <a:defRPr sz="1920" b="1"/>
            </a:lvl8pPr>
            <a:lvl9pPr marL="4388896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2" y="2609850"/>
            <a:ext cx="6466840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494034"/>
      </p:ext>
    </p:extLst>
  </p:cSld>
  <p:clrMapOvr>
    <a:masterClrMapping/>
  </p:clrMapOvr>
  <p:transition spd="med" advClick="0" advTm="500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709918"/>
      </p:ext>
    </p:extLst>
  </p:cSld>
  <p:clrMapOvr>
    <a:masterClrMapping/>
  </p:clrMapOvr>
  <p:transition spd="med" advClick="0" advTm="500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81360"/>
      </p:ext>
    </p:extLst>
  </p:cSld>
  <p:clrMapOvr>
    <a:masterClrMapping/>
  </p:clrMapOvr>
  <p:transition spd="med" advClick="0" advTm="500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1" y="327660"/>
            <a:ext cx="4813301" cy="139446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1" y="327662"/>
            <a:ext cx="8178799" cy="7023736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1" y="1722122"/>
            <a:ext cx="4813301" cy="5629276"/>
          </a:xfrm>
        </p:spPr>
        <p:txBody>
          <a:bodyPr/>
          <a:lstStyle>
            <a:lvl1pPr marL="0" indent="0">
              <a:buNone/>
              <a:defRPr sz="1680"/>
            </a:lvl1pPr>
            <a:lvl2pPr marL="548612" indent="0">
              <a:buNone/>
              <a:defRPr sz="1440"/>
            </a:lvl2pPr>
            <a:lvl3pPr marL="1097224" indent="0">
              <a:buNone/>
              <a:defRPr sz="1200"/>
            </a:lvl3pPr>
            <a:lvl4pPr marL="1645836" indent="0">
              <a:buNone/>
              <a:defRPr sz="1080"/>
            </a:lvl4pPr>
            <a:lvl5pPr marL="2194447" indent="0">
              <a:buNone/>
              <a:defRPr sz="1080"/>
            </a:lvl5pPr>
            <a:lvl6pPr marL="2743060" indent="0">
              <a:buNone/>
              <a:defRPr sz="1080"/>
            </a:lvl6pPr>
            <a:lvl7pPr marL="3291672" indent="0">
              <a:buNone/>
              <a:defRPr sz="1080"/>
            </a:lvl7pPr>
            <a:lvl8pPr marL="3840283" indent="0">
              <a:buNone/>
              <a:defRPr sz="1080"/>
            </a:lvl8pPr>
            <a:lvl9pPr marL="4388896" indent="0">
              <a:buNone/>
              <a:defRPr sz="108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243837"/>
      </p:ext>
    </p:extLst>
  </p:cSld>
  <p:clrMapOvr>
    <a:masterClrMapping/>
  </p:clrMapOvr>
  <p:transition spd="med" advClick="0" advTm="500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2" y="5760720"/>
            <a:ext cx="8778240" cy="680086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2" y="735330"/>
            <a:ext cx="8778240" cy="4937760"/>
          </a:xfrm>
        </p:spPr>
        <p:txBody>
          <a:bodyPr/>
          <a:lstStyle>
            <a:lvl1pPr marL="0" indent="0">
              <a:buNone/>
              <a:defRPr sz="3840"/>
            </a:lvl1pPr>
            <a:lvl2pPr marL="548612" indent="0">
              <a:buNone/>
              <a:defRPr sz="3360"/>
            </a:lvl2pPr>
            <a:lvl3pPr marL="1097224" indent="0">
              <a:buNone/>
              <a:defRPr sz="2880"/>
            </a:lvl3pPr>
            <a:lvl4pPr marL="1645836" indent="0">
              <a:buNone/>
              <a:defRPr sz="2400"/>
            </a:lvl4pPr>
            <a:lvl5pPr marL="2194447" indent="0">
              <a:buNone/>
              <a:defRPr sz="2400"/>
            </a:lvl5pPr>
            <a:lvl6pPr marL="2743060" indent="0">
              <a:buNone/>
              <a:defRPr sz="2400"/>
            </a:lvl6pPr>
            <a:lvl7pPr marL="3291672" indent="0">
              <a:buNone/>
              <a:defRPr sz="2400"/>
            </a:lvl7pPr>
            <a:lvl8pPr marL="3840283" indent="0">
              <a:buNone/>
              <a:defRPr sz="2400"/>
            </a:lvl8pPr>
            <a:lvl9pPr marL="4388896" indent="0">
              <a:buNone/>
              <a:defRPr sz="24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2" y="6440806"/>
            <a:ext cx="8778240" cy="965834"/>
          </a:xfrm>
        </p:spPr>
        <p:txBody>
          <a:bodyPr/>
          <a:lstStyle>
            <a:lvl1pPr marL="0" indent="0">
              <a:buNone/>
              <a:defRPr sz="1680"/>
            </a:lvl1pPr>
            <a:lvl2pPr marL="548612" indent="0">
              <a:buNone/>
              <a:defRPr sz="1440"/>
            </a:lvl2pPr>
            <a:lvl3pPr marL="1097224" indent="0">
              <a:buNone/>
              <a:defRPr sz="1200"/>
            </a:lvl3pPr>
            <a:lvl4pPr marL="1645836" indent="0">
              <a:buNone/>
              <a:defRPr sz="1080"/>
            </a:lvl4pPr>
            <a:lvl5pPr marL="2194447" indent="0">
              <a:buNone/>
              <a:defRPr sz="1080"/>
            </a:lvl5pPr>
            <a:lvl6pPr marL="2743060" indent="0">
              <a:buNone/>
              <a:defRPr sz="1080"/>
            </a:lvl6pPr>
            <a:lvl7pPr marL="3291672" indent="0">
              <a:buNone/>
              <a:defRPr sz="1080"/>
            </a:lvl7pPr>
            <a:lvl8pPr marL="3840283" indent="0">
              <a:buNone/>
              <a:defRPr sz="1080"/>
            </a:lvl8pPr>
            <a:lvl9pPr marL="4388896" indent="0">
              <a:buNone/>
              <a:defRPr sz="108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057866"/>
      </p:ext>
    </p:extLst>
  </p:cSld>
  <p:clrMapOvr>
    <a:masterClrMapping/>
  </p:clrMapOvr>
  <p:transition spd="med" advClick="0" advTm="500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15">
            <a:extLst>
              <a:ext uri="{FF2B5EF4-FFF2-40B4-BE49-F238E27FC236}">
                <a16:creationId xmlns:a16="http://schemas.microsoft.com/office/drawing/2014/main" id="{121170C0-5477-4D19-98B1-AEF89A96C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737684" cy="82296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DDBFAE21-077F-44D0-B3DD-66F715BBD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4" y="479878"/>
            <a:ext cx="6082547" cy="11203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No 1">
            <a:extLst>
              <a:ext uri="{FF2B5EF4-FFF2-40B4-BE49-F238E27FC236}">
                <a16:creationId xmlns:a16="http://schemas.microsoft.com/office/drawing/2014/main" id="{D6909E2E-77D6-4872-A147-5B3C215D0D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19786" y="479878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18" name="Text 1">
            <a:extLst>
              <a:ext uri="{FF2B5EF4-FFF2-40B4-BE49-F238E27FC236}">
                <a16:creationId xmlns:a16="http://schemas.microsoft.com/office/drawing/2014/main" id="{47AF8689-3890-48E8-BB2D-BB33CE3D78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24540" y="479878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No 1">
            <a:extLst>
              <a:ext uri="{FF2B5EF4-FFF2-40B4-BE49-F238E27FC236}">
                <a16:creationId xmlns:a16="http://schemas.microsoft.com/office/drawing/2014/main" id="{B4D132C5-3AA5-48F1-B1E2-E5ACB4E4B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9786" y="1525013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3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24" name="Text 1">
            <a:extLst>
              <a:ext uri="{FF2B5EF4-FFF2-40B4-BE49-F238E27FC236}">
                <a16:creationId xmlns:a16="http://schemas.microsoft.com/office/drawing/2014/main" id="{075389CD-6D79-452B-931A-9B3310B19C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24540" y="1525013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No 1">
            <a:extLst>
              <a:ext uri="{FF2B5EF4-FFF2-40B4-BE49-F238E27FC236}">
                <a16:creationId xmlns:a16="http://schemas.microsoft.com/office/drawing/2014/main" id="{12FE94AD-2AD0-48D3-B07B-CA6D3E843A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19786" y="2570148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26" name="Text 1">
            <a:extLst>
              <a:ext uri="{FF2B5EF4-FFF2-40B4-BE49-F238E27FC236}">
                <a16:creationId xmlns:a16="http://schemas.microsoft.com/office/drawing/2014/main" id="{48681AA9-2254-4DF4-AFD1-A9FC03ED039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24540" y="2570148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No 1">
            <a:extLst>
              <a:ext uri="{FF2B5EF4-FFF2-40B4-BE49-F238E27FC236}">
                <a16:creationId xmlns:a16="http://schemas.microsoft.com/office/drawing/2014/main" id="{31F4370B-4B1B-4142-8297-46AFD84CF8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19786" y="3615283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4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30" name="Text 1">
            <a:extLst>
              <a:ext uri="{FF2B5EF4-FFF2-40B4-BE49-F238E27FC236}">
                <a16:creationId xmlns:a16="http://schemas.microsoft.com/office/drawing/2014/main" id="{FB7E95C0-DFE6-4D35-97E0-C9BD565972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24540" y="3615283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No 1">
            <a:extLst>
              <a:ext uri="{FF2B5EF4-FFF2-40B4-BE49-F238E27FC236}">
                <a16:creationId xmlns:a16="http://schemas.microsoft.com/office/drawing/2014/main" id="{FCFB267C-9F58-493A-B4C0-6F2EF2A5F7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19786" y="4660418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5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34" name="Text 1">
            <a:extLst>
              <a:ext uri="{FF2B5EF4-FFF2-40B4-BE49-F238E27FC236}">
                <a16:creationId xmlns:a16="http://schemas.microsoft.com/office/drawing/2014/main" id="{1D160D3A-01A8-45BE-A4AB-954AD39A80F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24540" y="4660418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No 1">
            <a:extLst>
              <a:ext uri="{FF2B5EF4-FFF2-40B4-BE49-F238E27FC236}">
                <a16:creationId xmlns:a16="http://schemas.microsoft.com/office/drawing/2014/main" id="{54E874D7-15B3-4DB2-A7A3-221B56D199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9786" y="5705553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6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40" name="Text 1">
            <a:extLst>
              <a:ext uri="{FF2B5EF4-FFF2-40B4-BE49-F238E27FC236}">
                <a16:creationId xmlns:a16="http://schemas.microsoft.com/office/drawing/2014/main" id="{07D8C318-6897-4A91-9C76-675324FE521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524540" y="5705553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1" name="No 1">
            <a:extLst>
              <a:ext uri="{FF2B5EF4-FFF2-40B4-BE49-F238E27FC236}">
                <a16:creationId xmlns:a16="http://schemas.microsoft.com/office/drawing/2014/main" id="{DD4A269D-AE0E-4EAE-A225-8E0BC93C2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19786" y="6750686"/>
            <a:ext cx="1150990" cy="965312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80000"/>
              </a:lnSpc>
              <a:spcBef>
                <a:spcPts val="0"/>
              </a:spcBef>
              <a:buNone/>
              <a:defRPr sz="7000" b="0">
                <a:solidFill>
                  <a:schemeClr val="accent1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42" name="Text 1">
            <a:extLst>
              <a:ext uri="{FF2B5EF4-FFF2-40B4-BE49-F238E27FC236}">
                <a16:creationId xmlns:a16="http://schemas.microsoft.com/office/drawing/2014/main" id="{3BB2B16A-AEAD-4A5B-9B40-579CA98EA6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24540" y="6750686"/>
            <a:ext cx="5540375" cy="98561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1pPr>
            <a:lvl2pPr marL="0" indent="0">
              <a:spcBef>
                <a:spcPts val="600"/>
              </a:spcBef>
              <a:spcAft>
                <a:spcPts val="600"/>
              </a:spcAft>
              <a:buNone/>
              <a:defRPr sz="1800"/>
            </a:lvl2pPr>
            <a:lvl3pPr marL="0" indent="0">
              <a:buNone/>
              <a:defRPr sz="18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24007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192588"/>
      </p:ext>
    </p:extLst>
  </p:cSld>
  <p:clrMapOvr>
    <a:masterClrMapping/>
  </p:clrMapOvr>
  <p:transition spd="med" advClick="0" advTm="500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329567"/>
            <a:ext cx="3291840" cy="702183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329567"/>
            <a:ext cx="9631680" cy="702183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965784"/>
      </p:ext>
    </p:extLst>
  </p:cSld>
  <p:clrMapOvr>
    <a:masterClrMapping/>
  </p:clrMapOvr>
  <p:transition spd="med" advClick="0" advTm="500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31520" y="329567"/>
            <a:ext cx="13167360" cy="702183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539667"/>
      </p:ext>
    </p:extLst>
  </p:cSld>
  <p:clrMapOvr>
    <a:masterClrMapping/>
  </p:clrMapOvr>
  <p:transition spd="med" advClick="0" advTm="500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346836"/>
            <a:ext cx="12435840" cy="286512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22446"/>
            <a:ext cx="109728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29931336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22453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8221" y="2051688"/>
            <a:ext cx="12618720" cy="3423284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8221" y="5507358"/>
            <a:ext cx="12618720" cy="1800224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76656077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5840" y="2190750"/>
            <a:ext cx="6217920" cy="52216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06640" y="2190750"/>
            <a:ext cx="6217920" cy="52216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71956303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438152"/>
            <a:ext cx="12618720" cy="159067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7747" y="2017396"/>
            <a:ext cx="6189344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7747" y="3006090"/>
            <a:ext cx="6189344" cy="44215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06641" y="2017396"/>
            <a:ext cx="6219826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06641" y="3006090"/>
            <a:ext cx="6219826" cy="44215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24451558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0657830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2222607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68EC2-9C06-4F08-AF5E-2A913C5368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4630400" cy="822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050" y="4810466"/>
            <a:ext cx="6443664" cy="123309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180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0" indent="0" algn="l">
              <a:spcBef>
                <a:spcPts val="1800"/>
              </a:spcBef>
              <a:buNone/>
              <a:defRPr sz="1200" b="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1586" y="1560682"/>
            <a:ext cx="8179534" cy="2962910"/>
          </a:xfrm>
        </p:spPr>
        <p:txBody>
          <a:bodyPr anchor="b"/>
          <a:lstStyle>
            <a:lvl1pPr algn="l">
              <a:lnSpc>
                <a:spcPct val="83000"/>
              </a:lnSpc>
              <a:defRPr sz="6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66AFA4-3228-4EE6-91D0-C166351A1A24}"/>
              </a:ext>
            </a:extLst>
          </p:cNvPr>
          <p:cNvSpPr/>
          <p:nvPr userDrawn="1"/>
        </p:nvSpPr>
        <p:spPr>
          <a:xfrm>
            <a:off x="13282863" y="7587916"/>
            <a:ext cx="994611" cy="449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9BCED900-D023-40AF-B8AF-B515586C5C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291" y="812612"/>
            <a:ext cx="1733747" cy="679304"/>
          </a:xfrm>
          <a:prstGeom prst="rect">
            <a:avLst/>
          </a:prstGeom>
        </p:spPr>
      </p:pic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7C27E5F4-94D4-494C-B9E3-05B1131E4B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642091" y="840224"/>
            <a:ext cx="1903505" cy="647159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EC98DF-AB4B-490B-9642-DBBE2DF7FB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5862" y="6713538"/>
            <a:ext cx="4506912" cy="547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90846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2" pos="49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5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9826" y="1184912"/>
            <a:ext cx="7406640" cy="584835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5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4668678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5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219826" y="1184912"/>
            <a:ext cx="7406640" cy="5848350"/>
          </a:xfrm>
        </p:spPr>
        <p:txBody>
          <a:bodyPr anchor="t"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5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19474301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60684315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69881" y="438150"/>
            <a:ext cx="3154680" cy="6974206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5841" y="438150"/>
            <a:ext cx="9281160" cy="6974206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85719790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02CD4B-E653-4CC0-900C-73EE1A856C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4630400" cy="8229601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1F1FDF-0A0F-41D1-BACD-FA698B30B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49" y="7089053"/>
            <a:ext cx="1756800" cy="6627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1587" y="795687"/>
            <a:ext cx="4712752" cy="3111873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050" y="4617638"/>
            <a:ext cx="4713289" cy="1878412"/>
          </a:xfrm>
        </p:spPr>
        <p:txBody>
          <a:bodyPr/>
          <a:lstStyle>
            <a:lvl1pPr marL="0" indent="0" algn="l">
              <a:spcBef>
                <a:spcPts val="180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0" indent="0" algn="l">
              <a:spcBef>
                <a:spcPts val="180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</a:p>
          <a:p>
            <a:pPr lvl="1"/>
            <a:r>
              <a:rPr lang="en-US"/>
              <a:t>Level 2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0262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2" pos="4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 big numb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779D74-7E9A-48DC-A1D2-04FCF47FD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34E49-C379-4FD6-A198-05055D86B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F31666-D62E-4E3A-B6C9-F3A701E67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B1FD583-7765-4842-8B56-537BA9608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887" y="220207"/>
            <a:ext cx="5993103" cy="6589060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0"/>
              </a:spcBef>
              <a:defRPr sz="40000" b="0">
                <a:solidFill>
                  <a:srgbClr val="488CFF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0E3BBB0-3A5E-42F1-8A90-E859303A1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3217" y="2235762"/>
            <a:ext cx="10392522" cy="1836783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7200"/>
            </a:lvl1pPr>
          </a:lstStyle>
          <a:p>
            <a:r>
              <a:rPr lang="en-US"/>
              <a:t>Click to edit Master tit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AB82B6-AD98-4743-9559-677672C6F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6280" y="4107149"/>
            <a:ext cx="5486402" cy="88778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1424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5AE949-3B96-4793-9B60-F74159D09B9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4663" y="1892300"/>
            <a:ext cx="13681075" cy="5519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7372AC-71B5-45A7-BD0A-F79312CD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36203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RA Subheading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84325-5BF7-4E1E-A3C1-9BECAC767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17CFE5-C8A0-4B65-8247-B7FF441784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013" y="1653005"/>
            <a:ext cx="13668375" cy="416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5EB232-0206-4021-BEE2-790C02A461F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4663" y="2166730"/>
            <a:ext cx="13681075" cy="52453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49950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556511"/>
            <a:ext cx="12435840" cy="176403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5027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981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ig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B1FD583-7765-4842-8B56-537BA9608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887" y="220207"/>
            <a:ext cx="5993103" cy="658906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0000" b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0E3BBB0-3A5E-42F1-8A90-E859303A1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9783" y="2235762"/>
            <a:ext cx="7765956" cy="1836783"/>
          </a:xfrm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8AB82B6-AD98-4743-9559-677672C6F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85765" y="4107149"/>
            <a:ext cx="4099790" cy="88778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799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1"/>
            <a:ext cx="12435840" cy="1634490"/>
          </a:xfrm>
        </p:spPr>
        <p:txBody>
          <a:bodyPr anchor="t"/>
          <a:lstStyle>
            <a:lvl1pPr algn="l">
              <a:defRPr sz="4800" b="1" cap="all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5326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920240"/>
            <a:ext cx="6461760" cy="5431156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920240"/>
            <a:ext cx="6461760" cy="5431156"/>
          </a:xfrm>
        </p:spPr>
        <p:txBody>
          <a:bodyPr/>
          <a:lstStyle>
            <a:lvl1pPr>
              <a:defRPr sz="3360"/>
            </a:lvl1pPr>
            <a:lvl2pPr>
              <a:defRPr sz="2880"/>
            </a:lvl2pPr>
            <a:lvl3pPr>
              <a:defRPr sz="2400"/>
            </a:lvl3pPr>
            <a:lvl4pPr>
              <a:defRPr sz="2160"/>
            </a:lvl4pPr>
            <a:lvl5pPr>
              <a:defRPr sz="2160"/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6236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42136"/>
            <a:ext cx="6464301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09850"/>
            <a:ext cx="6464301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1" y="1842136"/>
            <a:ext cx="6466840" cy="76771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1" y="2609850"/>
            <a:ext cx="6466840" cy="4741546"/>
          </a:xfrm>
        </p:spPr>
        <p:txBody>
          <a:bodyPr/>
          <a:lstStyle>
            <a:lvl1pPr>
              <a:defRPr sz="2880"/>
            </a:lvl1pPr>
            <a:lvl2pPr>
              <a:defRPr sz="2400"/>
            </a:lvl2pPr>
            <a:lvl3pPr>
              <a:defRPr sz="216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3492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7421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069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1" y="327660"/>
            <a:ext cx="4813301" cy="139446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0"/>
            <a:ext cx="8178800" cy="7023736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1" y="1722120"/>
            <a:ext cx="4813301" cy="5629276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1260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1" y="5760720"/>
            <a:ext cx="8778240" cy="680086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1" y="735330"/>
            <a:ext cx="8778240" cy="493776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1" y="6440806"/>
            <a:ext cx="8778240" cy="965834"/>
          </a:xfrm>
        </p:spPr>
        <p:txBody>
          <a:bodyPr/>
          <a:lstStyle>
            <a:lvl1pPr marL="0" indent="0">
              <a:buNone/>
              <a:defRPr sz="1680"/>
            </a:lvl1pPr>
            <a:lvl2pPr marL="548640" indent="0">
              <a:buNone/>
              <a:defRPr sz="1440"/>
            </a:lvl2pPr>
            <a:lvl3pPr marL="1097280" indent="0">
              <a:buNone/>
              <a:defRPr sz="1200"/>
            </a:lvl3pPr>
            <a:lvl4pPr marL="1645920" indent="0">
              <a:buNone/>
              <a:defRPr sz="1080"/>
            </a:lvl4pPr>
            <a:lvl5pPr marL="2194560" indent="0">
              <a:buNone/>
              <a:defRPr sz="1080"/>
            </a:lvl5pPr>
            <a:lvl6pPr marL="2743200" indent="0">
              <a:buNone/>
              <a:defRPr sz="1080"/>
            </a:lvl6pPr>
            <a:lvl7pPr marL="3291840" indent="0">
              <a:buNone/>
              <a:defRPr sz="1080"/>
            </a:lvl7pPr>
            <a:lvl8pPr marL="3840480" indent="0">
              <a:buNone/>
              <a:defRPr sz="1080"/>
            </a:lvl8pPr>
            <a:lvl9pPr marL="4389120" indent="0">
              <a:buNone/>
              <a:defRPr sz="108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4545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8095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329566"/>
            <a:ext cx="3291840" cy="702183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329566"/>
            <a:ext cx="9631680" cy="702183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88069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31520" y="329566"/>
            <a:ext cx="13167360" cy="702183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322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07AC197C-EE05-40C5-8763-A264A62D0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6882062" cy="822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B1964939-27E4-4BFF-81B2-BA6376257E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6159" y="-272332"/>
            <a:ext cx="3563777" cy="3423284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20000" b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 b="0"/>
            </a:lvl2pPr>
            <a:lvl3pPr>
              <a:buNone/>
              <a:defRPr/>
            </a:lvl3pPr>
          </a:lstStyle>
          <a:p>
            <a:pPr lvl="0"/>
            <a:r>
              <a:rPr lang="en-GB"/>
              <a:t>0</a:t>
            </a:r>
            <a:r>
              <a:rPr lang="en-US"/>
              <a:t>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72CEE-99D7-4D6C-B2CB-DC9F77222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6160" y="4114799"/>
            <a:ext cx="6386652" cy="2595564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8EF462-D5A3-4EB5-B3C8-2C1AA334A7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16159" y="6832599"/>
            <a:ext cx="4654692" cy="9159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1217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D90EA-6AD3-B248-ACD6-18C18E5FC1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8800" y="1346836"/>
            <a:ext cx="10972800" cy="2865120"/>
          </a:xfrm>
          <a:prstGeom prst="rect">
            <a:avLst/>
          </a:prstGeo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4EA278-CE69-7C42-B369-981F31CF39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322446"/>
            <a:ext cx="109728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DF6B55-9838-1F48-8315-49EE9901B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22527454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C3EC0B5-A2D0-AE4C-9F83-F3957AF878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017" y="0"/>
            <a:ext cx="14594365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81827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E1B43-E3E6-9944-95C4-0DB2D8A2B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186670-9633-174C-807B-D9732A74E3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CF36AD-AB68-4D40-8783-156B672D4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050894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3F50D-FB65-8A4D-8220-593908B88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220" y="2051686"/>
            <a:ext cx="12618720" cy="3423284"/>
          </a:xfrm>
          <a:prstGeom prst="rect">
            <a:avLst/>
          </a:prstGeom>
        </p:spPr>
        <p:txBody>
          <a:bodyPr anchor="b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94D4DE-AEC1-6647-917B-1D60A2F1AC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8220" y="5507356"/>
            <a:ext cx="12618720" cy="1800224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>
                    <a:tint val="75000"/>
                  </a:schemeClr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887533-CC5A-9A4B-9D78-D4C0CCF01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20656345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97BB3-0436-0445-A4B2-129D969B0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041CF3-81F5-6A43-8854-C1A04C504C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05840" y="2190750"/>
            <a:ext cx="6217920" cy="52216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6A6088-0429-7E40-925B-2C32D26479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406640" y="2190750"/>
            <a:ext cx="6217920" cy="52216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90C339-B80C-AB41-8242-F12548300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6541591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895AB-DD04-2A43-8C5A-D968942D4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746" y="438150"/>
            <a:ext cx="12618720" cy="159067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2BECD4-4F99-C340-A63A-90384A1D24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7746" y="2017396"/>
            <a:ext cx="6189344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91F265-122C-F14B-9529-80E7E2D9CA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7746" y="3006090"/>
            <a:ext cx="6189344" cy="44215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00AA9A-7DDD-394F-AE0B-C1CCE53C01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406640" y="2017396"/>
            <a:ext cx="6219826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82F9FC-47B9-6C4D-B117-3B5452F98D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406640" y="3006090"/>
            <a:ext cx="6219826" cy="442150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AEEF2FC-58F2-3548-A413-FC5FC8250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09486503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5D8CCE-61C1-C64E-9BA5-7C19593430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EA3258-1509-BD4B-8085-34E9C41E8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0339724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F01404-E575-1B41-AFDF-B5A6774299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584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7CBB9E-01B1-C042-BCEB-66615EBB9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6320" y="7627621"/>
            <a:ext cx="4937760" cy="438150"/>
          </a:xfrm>
          <a:prstGeom prst="rect">
            <a:avLst/>
          </a:prstGeom>
        </p:spPr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BB6635-4317-454A-A2FE-0F426BDC5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87609939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6FD55-E94F-3E41-AA71-3B4EB85E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4" cy="1920240"/>
          </a:xfrm>
          <a:prstGeom prst="rect">
            <a:avLst/>
          </a:prstGeom>
        </p:spPr>
        <p:txBody>
          <a:bodyPr anchor="b"/>
          <a:lstStyle>
            <a:lvl1pPr>
              <a:defRPr sz="384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65F992-ED46-6C42-8EC0-C1DD9E916E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9826" y="1184911"/>
            <a:ext cx="7406640" cy="584835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688D3E-02EA-E34D-A72F-EC320BFAA8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01FB8D-F157-7243-90AD-051C9BC2D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5565029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5F0ED-FE18-F34B-A127-18D191E11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4" cy="1920240"/>
          </a:xfrm>
          <a:prstGeom prst="rect">
            <a:avLst/>
          </a:prstGeom>
        </p:spPr>
        <p:txBody>
          <a:bodyPr anchor="b"/>
          <a:lstStyle>
            <a:lvl1pPr>
              <a:defRPr sz="384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1034B7-C685-3D4A-8582-64D110FE36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19826" y="1184911"/>
            <a:ext cx="7406640" cy="5848350"/>
          </a:xfrm>
        </p:spPr>
        <p:txBody>
          <a:bodyPr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6A07EC-057C-654C-A5D2-6764261FC6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B96964-4EAA-5C4F-9545-9802C9013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8447458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RA Consultant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C463C-7B0A-4B72-BA38-C917D9311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EED002A7-AA34-49AF-9AE4-B58D832BB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1488" y="1918426"/>
            <a:ext cx="6777037" cy="5365024"/>
          </a:xfrm>
        </p:spPr>
        <p:txBody>
          <a:bodyPr/>
          <a:lstStyle>
            <a:lvl1pPr>
              <a:spcAft>
                <a:spcPts val="2100"/>
              </a:spcAft>
              <a:defRPr sz="2400" b="1">
                <a:solidFill>
                  <a:schemeClr val="accent1"/>
                </a:solidFill>
              </a:defRPr>
            </a:lvl1pPr>
            <a:lvl2pPr marL="0" indent="0">
              <a:spcAft>
                <a:spcPts val="300"/>
              </a:spcAft>
              <a:buNone/>
              <a:defRPr sz="1600" b="0">
                <a:solidFill>
                  <a:schemeClr val="accent1"/>
                </a:solidFill>
              </a:defRPr>
            </a:lvl2pPr>
            <a:lvl3pPr marL="0" indent="0">
              <a:buNone/>
              <a:defRPr sz="1200"/>
            </a:lvl3pPr>
            <a:lvl4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352425" indent="-174625"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17275F72-CA23-4940-86DA-DE4F3F042B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34475" y="1892300"/>
            <a:ext cx="3236976" cy="347472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FEAD49D3-5FB3-4451-8B40-CADF63A6A0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28124" y="5614988"/>
            <a:ext cx="4924759" cy="15557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213360" indent="0">
              <a:spcBef>
                <a:spcPts val="0"/>
              </a:spcBef>
              <a:buNone/>
              <a:defRPr sz="1200"/>
            </a:lvl4pPr>
            <a:lvl5pPr marL="690563" indent="0"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80965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E80DF-DD2C-C94A-A8D7-6A3062606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D77E00-ED9E-DF4E-8D06-0522E4B62F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31DAAC-6B5E-424D-88F9-12BCE2B22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10310254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F382A82-C1A8-6644-B3F6-1F65D419E7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469880" y="438150"/>
            <a:ext cx="3154680" cy="6974206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1E311B-EC03-B241-AB5E-4C8C71A089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05840" y="438150"/>
            <a:ext cx="9281160" cy="6974206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D9655D-984F-5442-9919-E5AD2E233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/>
          <a:lstStyle/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44339534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02CD4B-E653-4CC0-900C-73EE1A856C2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4630400" cy="8229601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1F1FDF-0A0F-41D1-BACD-FA698B30B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49" y="7089053"/>
            <a:ext cx="1756800" cy="6627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AA2D88-3AA8-4B37-B947-22C9A23B36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1587" y="795687"/>
            <a:ext cx="4712752" cy="3111873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25059C-D334-4D4C-8063-65073D85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1050" y="4617638"/>
            <a:ext cx="4713289" cy="1878412"/>
          </a:xfrm>
        </p:spPr>
        <p:txBody>
          <a:bodyPr/>
          <a:lstStyle>
            <a:lvl1pPr marL="0" indent="0" algn="l">
              <a:spcBef>
                <a:spcPts val="1800"/>
              </a:spcBef>
              <a:buNone/>
              <a:defRPr sz="2000" b="0">
                <a:solidFill>
                  <a:schemeClr val="accent1"/>
                </a:solidFill>
              </a:defRPr>
            </a:lvl1pPr>
            <a:lvl2pPr marL="0" indent="0" algn="l">
              <a:spcBef>
                <a:spcPts val="1800"/>
              </a:spcBef>
              <a:buNone/>
              <a:defRPr sz="1200" b="0">
                <a:solidFill>
                  <a:schemeClr val="tx1"/>
                </a:solidFill>
              </a:defRPr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</a:p>
          <a:p>
            <a:pPr lvl="1"/>
            <a:r>
              <a:rPr lang="en-US"/>
              <a:t>Level 2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681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2" pos="49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5AE949-3B96-4793-9B60-F74159D09B9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4663" y="1892300"/>
            <a:ext cx="13681075" cy="5519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7372AC-71B5-45A7-BD0A-F79312CD7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20129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RA Subheading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84325-5BF7-4E1E-A3C1-9BECAC767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17CFE5-C8A0-4B65-8247-B7FF441784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013" y="1653005"/>
            <a:ext cx="13668375" cy="4164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5EB232-0206-4021-BEE2-790C02A461F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4663" y="2166730"/>
            <a:ext cx="13681075" cy="52453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572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icture Placeholder 30">
            <a:extLst>
              <a:ext uri="{FF2B5EF4-FFF2-40B4-BE49-F238E27FC236}">
                <a16:creationId xmlns:a16="http://schemas.microsoft.com/office/drawing/2014/main" id="{601C70B3-DBE6-484C-AD41-29BA7E02DB47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0025624" y="1899366"/>
            <a:ext cx="1675684" cy="167568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8" name="Picture Placeholder 30">
            <a:extLst>
              <a:ext uri="{FF2B5EF4-FFF2-40B4-BE49-F238E27FC236}">
                <a16:creationId xmlns:a16="http://schemas.microsoft.com/office/drawing/2014/main" id="{7969BC35-2614-4A7F-ADC1-4E364E9B88E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025624" y="4642566"/>
            <a:ext cx="1675684" cy="167568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F0DB953-96BB-43B2-A326-7A50811782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4737" y="1898650"/>
            <a:ext cx="2269925" cy="17873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 Surname</a:t>
            </a:r>
          </a:p>
          <a:p>
            <a:pPr lvl="1"/>
            <a:r>
              <a:rPr lang="en-US"/>
              <a:t>Job titl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449618C-7621-4BC9-B135-0A9A1EBC3A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51869" y="1898650"/>
            <a:ext cx="2269925" cy="17873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 Surname</a:t>
            </a:r>
          </a:p>
          <a:p>
            <a:pPr lvl="1"/>
            <a:r>
              <a:rPr lang="en-US"/>
              <a:t>Job titl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32">
            <a:extLst>
              <a:ext uri="{FF2B5EF4-FFF2-40B4-BE49-F238E27FC236}">
                <a16:creationId xmlns:a16="http://schemas.microsoft.com/office/drawing/2014/main" id="{6C650800-B150-4E8A-A443-D69DF354CE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906749" y="1898650"/>
            <a:ext cx="2269925" cy="17873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 Surname</a:t>
            </a:r>
          </a:p>
          <a:p>
            <a:pPr lvl="1"/>
            <a:r>
              <a:rPr lang="en-US"/>
              <a:t>Job titl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32">
            <a:extLst>
              <a:ext uri="{FF2B5EF4-FFF2-40B4-BE49-F238E27FC236}">
                <a16:creationId xmlns:a16="http://schemas.microsoft.com/office/drawing/2014/main" id="{143BFC03-5FCB-439D-A331-BEFD4A6277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44737" y="4641850"/>
            <a:ext cx="2269925" cy="17873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 Surname</a:t>
            </a:r>
          </a:p>
          <a:p>
            <a:pPr lvl="1"/>
            <a:r>
              <a:rPr lang="en-US"/>
              <a:t>Job titl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32">
            <a:extLst>
              <a:ext uri="{FF2B5EF4-FFF2-40B4-BE49-F238E27FC236}">
                <a16:creationId xmlns:a16="http://schemas.microsoft.com/office/drawing/2014/main" id="{F24C6670-D17D-4BAA-B425-9C139AE54F1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51869" y="4641850"/>
            <a:ext cx="2269925" cy="17873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 Surname</a:t>
            </a:r>
          </a:p>
          <a:p>
            <a:pPr lvl="1"/>
            <a:r>
              <a:rPr lang="en-US"/>
              <a:t>Job titl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6" name="Text Placeholder 32">
            <a:extLst>
              <a:ext uri="{FF2B5EF4-FFF2-40B4-BE49-F238E27FC236}">
                <a16:creationId xmlns:a16="http://schemas.microsoft.com/office/drawing/2014/main" id="{5581072D-38C1-423A-8832-DDB65DD4A80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06749" y="4641850"/>
            <a:ext cx="2269925" cy="17873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spcAft>
                <a:spcPts val="300"/>
              </a:spcAft>
              <a:defRPr sz="1200" b="1" cap="all" baseline="0">
                <a:solidFill>
                  <a:schemeClr val="tx2"/>
                </a:solidFill>
              </a:defRPr>
            </a:lvl2pPr>
            <a:lvl3pPr>
              <a:buNone/>
              <a:defRPr sz="1200">
                <a:solidFill>
                  <a:schemeClr val="accent6"/>
                </a:solidFill>
              </a:defRPr>
            </a:lvl3pPr>
            <a:lvl4pPr marL="177800" indent="-177800">
              <a:defRPr sz="1200">
                <a:solidFill>
                  <a:schemeClr val="accent6"/>
                </a:solidFill>
              </a:defRPr>
            </a:lvl4pPr>
            <a:lvl5pPr marL="361950" indent="-184150">
              <a:defRPr sz="12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Name Surname</a:t>
            </a:r>
          </a:p>
          <a:p>
            <a:pPr lvl="1"/>
            <a:r>
              <a:rPr lang="en-US"/>
              <a:t>Job titl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FDE71FD-DFBE-458A-83E4-B44F173349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5400" y="1899366"/>
            <a:ext cx="1675684" cy="167568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Picture Placeholder 30">
            <a:extLst>
              <a:ext uri="{FF2B5EF4-FFF2-40B4-BE49-F238E27FC236}">
                <a16:creationId xmlns:a16="http://schemas.microsoft.com/office/drawing/2014/main" id="{A67A5DF0-32B5-4A4D-BD77-6AD2D004C8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282532" y="1899366"/>
            <a:ext cx="1675684" cy="167568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1" name="Picture Placeholder 30">
            <a:extLst>
              <a:ext uri="{FF2B5EF4-FFF2-40B4-BE49-F238E27FC236}">
                <a16:creationId xmlns:a16="http://schemas.microsoft.com/office/drawing/2014/main" id="{EE3E2DD9-8643-4CD0-84D8-7620B62DE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75400" y="4642566"/>
            <a:ext cx="1675684" cy="167568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Picture Placeholder 30">
            <a:extLst>
              <a:ext uri="{FF2B5EF4-FFF2-40B4-BE49-F238E27FC236}">
                <a16:creationId xmlns:a16="http://schemas.microsoft.com/office/drawing/2014/main" id="{3BCE4F40-FF41-41F5-B6F8-7189D0229EA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82532" y="4642566"/>
            <a:ext cx="1675684" cy="1675684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FC463C-7B0A-4B72-BA38-C917D9311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3506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6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71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id" hidden="1">
            <a:extLst>
              <a:ext uri="{FF2B5EF4-FFF2-40B4-BE49-F238E27FC236}">
                <a16:creationId xmlns:a16="http://schemas.microsoft.com/office/drawing/2014/main" id="{E775CA7C-5976-4775-867E-4905F5449B75}"/>
              </a:ext>
            </a:extLst>
          </p:cNvPr>
          <p:cNvGrpSpPr/>
          <p:nvPr userDrawn="1"/>
        </p:nvGrpSpPr>
        <p:grpSpPr>
          <a:xfrm>
            <a:off x="-254001" y="-211930"/>
            <a:ext cx="14884401" cy="8441530"/>
            <a:chOff x="-254001" y="-211930"/>
            <a:chExt cx="14884401" cy="844153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BD34047-870C-46E1-A8E4-7479C8E60EDC}"/>
                </a:ext>
              </a:extLst>
            </p:cNvPr>
            <p:cNvSpPr/>
            <p:nvPr userDrawn="1"/>
          </p:nvSpPr>
          <p:spPr>
            <a:xfrm flipV="1">
              <a:off x="5492565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D4A8EF-20EA-4A85-A76F-DCE4EAEE5D73}"/>
                </a:ext>
              </a:extLst>
            </p:cNvPr>
            <p:cNvSpPr/>
            <p:nvPr userDrawn="1"/>
          </p:nvSpPr>
          <p:spPr>
            <a:xfrm flipV="1">
              <a:off x="8957833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F42B3FA-B888-4AD4-BB3B-40C505AF4939}"/>
                </a:ext>
              </a:extLst>
            </p:cNvPr>
            <p:cNvSpPr/>
            <p:nvPr userDrawn="1"/>
          </p:nvSpPr>
          <p:spPr>
            <a:xfrm flipV="1">
              <a:off x="375993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78B966C-3CD0-4E14-BB8D-B3E6703363BA}"/>
                </a:ext>
              </a:extLst>
            </p:cNvPr>
            <p:cNvSpPr/>
            <p:nvPr userDrawn="1"/>
          </p:nvSpPr>
          <p:spPr>
            <a:xfrm flipV="1">
              <a:off x="202729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EC690BD-5F1E-40CB-92DA-5E86556AF65B}"/>
                </a:ext>
              </a:extLst>
            </p:cNvPr>
            <p:cNvSpPr/>
            <p:nvPr userDrawn="1"/>
          </p:nvSpPr>
          <p:spPr>
            <a:xfrm flipV="1">
              <a:off x="-1" y="-208926"/>
              <a:ext cx="474664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00832C0-C969-4DCF-80ED-5B931130AA29}"/>
                </a:ext>
              </a:extLst>
            </p:cNvPr>
            <p:cNvSpPr/>
            <p:nvPr userDrawn="1"/>
          </p:nvSpPr>
          <p:spPr>
            <a:xfrm flipV="1">
              <a:off x="7225199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41E89B0-EA15-49A1-9F2C-9ECC7B7A3EEF}"/>
                </a:ext>
              </a:extLst>
            </p:cNvPr>
            <p:cNvSpPr/>
            <p:nvPr userDrawn="1"/>
          </p:nvSpPr>
          <p:spPr>
            <a:xfrm flipV="1">
              <a:off x="1069046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C9E5914-8A29-45DF-BA54-239CB92CD693}"/>
                </a:ext>
              </a:extLst>
            </p:cNvPr>
            <p:cNvSpPr/>
            <p:nvPr userDrawn="1"/>
          </p:nvSpPr>
          <p:spPr>
            <a:xfrm flipV="1">
              <a:off x="1242310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D9EC057-1F14-4B8F-82AE-7331D344CB4B}"/>
                </a:ext>
              </a:extLst>
            </p:cNvPr>
            <p:cNvSpPr/>
            <p:nvPr userDrawn="1"/>
          </p:nvSpPr>
          <p:spPr>
            <a:xfrm flipV="1">
              <a:off x="14155738" y="-211930"/>
              <a:ext cx="474662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D2DDB33-914B-4D71-A95F-C66A5D792238}"/>
                </a:ext>
              </a:extLst>
            </p:cNvPr>
            <p:cNvSpPr/>
            <p:nvPr userDrawn="1"/>
          </p:nvSpPr>
          <p:spPr>
            <a:xfrm>
              <a:off x="-254001" y="479879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FA0954A-04E3-4158-8A49-CB6F1778E534}"/>
                </a:ext>
              </a:extLst>
            </p:cNvPr>
            <p:cNvSpPr/>
            <p:nvPr userDrawn="1"/>
          </p:nvSpPr>
          <p:spPr>
            <a:xfrm>
              <a:off x="-254001" y="2557561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D2011B4-DB2B-48B5-9EB4-6E2A3581CF23}"/>
                </a:ext>
              </a:extLst>
            </p:cNvPr>
            <p:cNvSpPr/>
            <p:nvPr userDrawn="1"/>
          </p:nvSpPr>
          <p:spPr>
            <a:xfrm>
              <a:off x="-254001" y="4635243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34F405B-243E-4F03-A574-A09FB738909A}"/>
                </a:ext>
              </a:extLst>
            </p:cNvPr>
            <p:cNvSpPr/>
            <p:nvPr userDrawn="1"/>
          </p:nvSpPr>
          <p:spPr>
            <a:xfrm>
              <a:off x="-254001" y="6712925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347E6FC-3EFE-4EF4-998F-BA04448FE21F}"/>
                </a:ext>
              </a:extLst>
            </p:cNvPr>
            <p:cNvSpPr/>
            <p:nvPr userDrawn="1"/>
          </p:nvSpPr>
          <p:spPr>
            <a:xfrm>
              <a:off x="-254000" y="0"/>
              <a:ext cx="108000" cy="4778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EC965E5-3898-45C0-A300-038F51BA1728}"/>
                </a:ext>
              </a:extLst>
            </p:cNvPr>
            <p:cNvSpPr/>
            <p:nvPr userDrawn="1"/>
          </p:nvSpPr>
          <p:spPr>
            <a:xfrm>
              <a:off x="-254001" y="1518720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C57C3F1-8CCC-4E6A-9057-F8B423DBE1DA}"/>
                </a:ext>
              </a:extLst>
            </p:cNvPr>
            <p:cNvSpPr/>
            <p:nvPr userDrawn="1"/>
          </p:nvSpPr>
          <p:spPr>
            <a:xfrm>
              <a:off x="-254001" y="3596402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783019D-003E-4100-B915-A0BDFC855F66}"/>
                </a:ext>
              </a:extLst>
            </p:cNvPr>
            <p:cNvSpPr/>
            <p:nvPr userDrawn="1"/>
          </p:nvSpPr>
          <p:spPr>
            <a:xfrm>
              <a:off x="-254001" y="5674084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9CE230D-10AC-4C9E-A85F-E8D21FB03514}"/>
                </a:ext>
              </a:extLst>
            </p:cNvPr>
            <p:cNvSpPr/>
            <p:nvPr userDrawn="1"/>
          </p:nvSpPr>
          <p:spPr>
            <a:xfrm>
              <a:off x="-254001" y="7751764"/>
              <a:ext cx="108000" cy="4778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CE3896-9480-48A4-AB3A-566A3C8C8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479878"/>
            <a:ext cx="13681075" cy="11529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85736C-04B9-4DA7-B66A-CF6FA602BE22}"/>
              </a:ext>
            </a:extLst>
          </p:cNvPr>
          <p:cNvSpPr txBox="1"/>
          <p:nvPr userDrawn="1"/>
        </p:nvSpPr>
        <p:spPr>
          <a:xfrm>
            <a:off x="474911" y="7797982"/>
            <a:ext cx="3313355" cy="215444"/>
          </a:xfrm>
          <a:prstGeom prst="rect">
            <a:avLst/>
          </a:prstGeom>
          <a:noFill/>
        </p:spPr>
        <p:txBody>
          <a:bodyPr wrap="square" lIns="0" rtlCol="0" anchor="ctr" anchorCtr="0">
            <a:noAutofit/>
          </a:bodyPr>
          <a:lstStyle/>
          <a:p>
            <a:r>
              <a:rPr lang="en-US" sz="800"/>
              <a:t>Private &amp; Confidenti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F9E99B-04CD-4E34-AA7E-7CE5CCB5AB93}"/>
              </a:ext>
            </a:extLst>
          </p:cNvPr>
          <p:cNvSpPr txBox="1"/>
          <p:nvPr userDrawn="1"/>
        </p:nvSpPr>
        <p:spPr>
          <a:xfrm>
            <a:off x="7014116" y="7794702"/>
            <a:ext cx="6467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303C188-80CC-4CD3-AD91-156ECDB66FEF}" type="slidenum">
              <a:rPr lang="en-US" sz="800" smtClean="0"/>
              <a:t>‹#›</a:t>
            </a:fld>
            <a:endParaRPr lang="en-US" sz="8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1438B7-1F7E-4CD5-87BD-353168BB4D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4662" y="1892300"/>
            <a:ext cx="13681075" cy="55197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37" name="Picture 36" descr="A picture containing text, bottle, sign&#10;&#10;Description automatically generated">
            <a:extLst>
              <a:ext uri="{FF2B5EF4-FFF2-40B4-BE49-F238E27FC236}">
                <a16:creationId xmlns:a16="http://schemas.microsoft.com/office/drawing/2014/main" id="{E3E32930-E624-4BB8-8D32-7A137D5B656E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3021" y="7641768"/>
            <a:ext cx="831633" cy="32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761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81" r:id="rId2"/>
    <p:sldLayoutId id="2147484382" r:id="rId3"/>
    <p:sldLayoutId id="2147484383" r:id="rId4"/>
    <p:sldLayoutId id="2147484353" r:id="rId5"/>
    <p:sldLayoutId id="2147484232" r:id="rId6"/>
    <p:sldLayoutId id="2147484170" r:id="rId7"/>
    <p:sldLayoutId id="2147484396" r:id="rId8"/>
    <p:sldLayoutId id="2147484209" r:id="rId9"/>
    <p:sldLayoutId id="2147484354" r:id="rId10"/>
    <p:sldLayoutId id="2147484365" r:id="rId11"/>
    <p:sldLayoutId id="2147484398" r:id="rId12"/>
    <p:sldLayoutId id="2147484399" r:id="rId13"/>
    <p:sldLayoutId id="2147484400" r:id="rId14"/>
  </p:sldLayoutIdLst>
  <p:hf hdr="0" ftr="0" dt="0"/>
  <p:txStyles>
    <p:titleStyle>
      <a:lvl1pPr algn="l" defTabSz="1097280" rtl="0" eaLnBrk="1" latinLnBrk="0" hangingPunct="1">
        <a:lnSpc>
          <a:spcPct val="83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lang="en-US" sz="1800" b="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7000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lang="en-GB"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623888" indent="-161925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13360" indent="-213360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24816" indent="-211456" algn="l" defTabSz="10972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097280" rtl="0" eaLnBrk="1" latinLnBrk="0" hangingPunct="1">
        <a:lnSpc>
          <a:spcPct val="100000"/>
        </a:lnSpc>
        <a:spcBef>
          <a:spcPts val="2160"/>
        </a:spcBef>
        <a:buFont typeface="Arial" panose="020B0604020202020204" pitchFamily="34" charset="0"/>
        <a:buNone/>
        <a:defRPr lang="en-US" sz="10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9">
          <p15:clr>
            <a:srgbClr val="F26B43"/>
          </p15:clr>
        </p15:guide>
        <p15:guide id="2" pos="4551">
          <p15:clr>
            <a:srgbClr val="F26B43"/>
          </p15:clr>
        </p15:guide>
        <p15:guide id="3" pos="4664">
          <p15:clr>
            <a:srgbClr val="F26B43"/>
          </p15:clr>
        </p15:guide>
        <p15:guide id="4" pos="299">
          <p15:clr>
            <a:srgbClr val="F26B43"/>
          </p15:clr>
        </p15:guide>
        <p15:guide id="5" pos="8917">
          <p15:clr>
            <a:srgbClr val="F26B43"/>
          </p15:clr>
        </p15:guide>
        <p15:guide id="6" pos="3572">
          <p15:clr>
            <a:srgbClr val="F26B43"/>
          </p15:clr>
        </p15:guide>
        <p15:guide id="7" pos="3461">
          <p15:clr>
            <a:srgbClr val="F26B43"/>
          </p15:clr>
        </p15:guide>
        <p15:guide id="8" pos="2481">
          <p15:clr>
            <a:srgbClr val="F26B43"/>
          </p15:clr>
        </p15:guide>
        <p15:guide id="9" pos="2369" userDrawn="1">
          <p15:clr>
            <a:srgbClr val="F26B43"/>
          </p15:clr>
        </p15:guide>
        <p15:guide id="10" pos="1389">
          <p15:clr>
            <a:srgbClr val="F26B43"/>
          </p15:clr>
        </p15:guide>
        <p15:guide id="11" pos="1277">
          <p15:clr>
            <a:srgbClr val="F26B43"/>
          </p15:clr>
        </p15:guide>
        <p15:guide id="12" pos="5642">
          <p15:clr>
            <a:srgbClr val="F26B43"/>
          </p15:clr>
        </p15:guide>
        <p15:guide id="13" pos="5754">
          <p15:clr>
            <a:srgbClr val="F26B43"/>
          </p15:clr>
        </p15:guide>
        <p15:guide id="14" pos="6734">
          <p15:clr>
            <a:srgbClr val="F26B43"/>
          </p15:clr>
        </p15:guide>
        <p15:guide id="15" pos="6846">
          <p15:clr>
            <a:srgbClr val="F26B43"/>
          </p15:clr>
        </p15:guide>
        <p15:guide id="16" pos="7826">
          <p15:clr>
            <a:srgbClr val="F26B43"/>
          </p15:clr>
        </p15:guide>
        <p15:guide id="17" pos="7938">
          <p15:clr>
            <a:srgbClr val="F26B43"/>
          </p15:clr>
        </p15:guide>
        <p15:guide id="18" orient="horz" pos="956">
          <p15:clr>
            <a:srgbClr val="F26B43"/>
          </p15:clr>
        </p15:guide>
        <p15:guide id="19" orient="horz" pos="1611">
          <p15:clr>
            <a:srgbClr val="F26B43"/>
          </p15:clr>
        </p15:guide>
        <p15:guide id="20" orient="horz" pos="2252">
          <p15:clr>
            <a:srgbClr val="F26B43"/>
          </p15:clr>
        </p15:guide>
        <p15:guide id="21" orient="horz" pos="3573">
          <p15:clr>
            <a:srgbClr val="F26B43"/>
          </p15:clr>
        </p15:guide>
        <p15:guide id="22" orient="horz" pos="4227">
          <p15:clr>
            <a:srgbClr val="F26B43"/>
          </p15:clr>
        </p15:guide>
        <p15:guide id="23" orient="horz" pos="4881">
          <p15:clr>
            <a:srgbClr val="F26B43"/>
          </p15:clr>
        </p15:guide>
        <p15:guide id="24" orient="horz" pos="301">
          <p15:clr>
            <a:srgbClr val="F26B43"/>
          </p15:clr>
        </p15:guide>
        <p15:guide id="25" orient="horz" pos="1192">
          <p15:clr>
            <a:srgbClr val="F26B43"/>
          </p15:clr>
        </p15:guide>
        <p15:guide id="26" orient="horz" pos="45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5840" y="438153"/>
            <a:ext cx="1261872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40" y="2190750"/>
            <a:ext cx="1261872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5840" y="7627623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42CEA9-4BF9-4248-9C65-22F2E0D0890E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6320" y="7627623"/>
            <a:ext cx="4937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32720" y="7627623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4C7BE3-9139-4860-94FE-250339792B78}" type="slidenum">
              <a:rPr lang="en-AU" smtClean="0"/>
              <a:t>‹#›</a:t>
            </a:fld>
            <a:endParaRPr lang="en-AU"/>
          </a:p>
        </p:txBody>
      </p:sp>
      <p:grpSp>
        <p:nvGrpSpPr>
          <p:cNvPr id="7" name="Grid" hidden="1">
            <a:extLst>
              <a:ext uri="{FF2B5EF4-FFF2-40B4-BE49-F238E27FC236}">
                <a16:creationId xmlns:a16="http://schemas.microsoft.com/office/drawing/2014/main" id="{DCFA4229-45C4-D043-BB40-3BCB2B53DF41}"/>
              </a:ext>
            </a:extLst>
          </p:cNvPr>
          <p:cNvGrpSpPr/>
          <p:nvPr userDrawn="1"/>
        </p:nvGrpSpPr>
        <p:grpSpPr>
          <a:xfrm>
            <a:off x="-254001" y="-211930"/>
            <a:ext cx="14884401" cy="8441530"/>
            <a:chOff x="-254001" y="-211930"/>
            <a:chExt cx="14884401" cy="844153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ABCF1F2-17A8-5E47-BF01-772F0A66D4FD}"/>
                </a:ext>
              </a:extLst>
            </p:cNvPr>
            <p:cNvSpPr/>
            <p:nvPr userDrawn="1"/>
          </p:nvSpPr>
          <p:spPr>
            <a:xfrm flipV="1">
              <a:off x="5492565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9394B34-638A-0D49-A6FB-7B7DFBDA946B}"/>
                </a:ext>
              </a:extLst>
            </p:cNvPr>
            <p:cNvSpPr/>
            <p:nvPr userDrawn="1"/>
          </p:nvSpPr>
          <p:spPr>
            <a:xfrm flipV="1">
              <a:off x="8957833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0AF5A39-7F16-E941-90CC-7349EA0CA2BC}"/>
                </a:ext>
              </a:extLst>
            </p:cNvPr>
            <p:cNvSpPr/>
            <p:nvPr userDrawn="1"/>
          </p:nvSpPr>
          <p:spPr>
            <a:xfrm flipV="1">
              <a:off x="375993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2B17587-4506-684C-9F69-ECB8EDFE099F}"/>
                </a:ext>
              </a:extLst>
            </p:cNvPr>
            <p:cNvSpPr/>
            <p:nvPr userDrawn="1"/>
          </p:nvSpPr>
          <p:spPr>
            <a:xfrm flipV="1">
              <a:off x="202729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A06F78D-FF9B-F34B-95CD-9BFB246AF527}"/>
                </a:ext>
              </a:extLst>
            </p:cNvPr>
            <p:cNvSpPr/>
            <p:nvPr userDrawn="1"/>
          </p:nvSpPr>
          <p:spPr>
            <a:xfrm flipV="1">
              <a:off x="-1" y="-208926"/>
              <a:ext cx="474664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F3BF090-EC2E-7E4F-A918-1E9AB44BE998}"/>
                </a:ext>
              </a:extLst>
            </p:cNvPr>
            <p:cNvSpPr/>
            <p:nvPr userDrawn="1"/>
          </p:nvSpPr>
          <p:spPr>
            <a:xfrm flipV="1">
              <a:off x="7225199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7A7F759-D1CC-D243-8E4A-645FD4C1FCC3}"/>
                </a:ext>
              </a:extLst>
            </p:cNvPr>
            <p:cNvSpPr/>
            <p:nvPr userDrawn="1"/>
          </p:nvSpPr>
          <p:spPr>
            <a:xfrm flipV="1">
              <a:off x="1069046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5D53D24-5E32-9F45-A4B7-8B583C430792}"/>
                </a:ext>
              </a:extLst>
            </p:cNvPr>
            <p:cNvSpPr/>
            <p:nvPr userDrawn="1"/>
          </p:nvSpPr>
          <p:spPr>
            <a:xfrm flipV="1">
              <a:off x="1242310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12F98D9-A881-D049-9CFF-B267E93C0673}"/>
                </a:ext>
              </a:extLst>
            </p:cNvPr>
            <p:cNvSpPr/>
            <p:nvPr userDrawn="1"/>
          </p:nvSpPr>
          <p:spPr>
            <a:xfrm flipV="1">
              <a:off x="14155738" y="-211930"/>
              <a:ext cx="474662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234B7D1-C5DE-8E4F-AAE4-1DF79A8DA88B}"/>
                </a:ext>
              </a:extLst>
            </p:cNvPr>
            <p:cNvSpPr/>
            <p:nvPr userDrawn="1"/>
          </p:nvSpPr>
          <p:spPr>
            <a:xfrm>
              <a:off x="-254001" y="479879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CF4FF47-1E1A-7D40-A213-732A7DA0CFAB}"/>
                </a:ext>
              </a:extLst>
            </p:cNvPr>
            <p:cNvSpPr/>
            <p:nvPr userDrawn="1"/>
          </p:nvSpPr>
          <p:spPr>
            <a:xfrm>
              <a:off x="-254001" y="2557561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B2F031C-326E-3947-B9F5-437020D4A8A4}"/>
                </a:ext>
              </a:extLst>
            </p:cNvPr>
            <p:cNvSpPr/>
            <p:nvPr userDrawn="1"/>
          </p:nvSpPr>
          <p:spPr>
            <a:xfrm>
              <a:off x="-254001" y="4635243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11CF279-A703-3E44-ADEA-A9D7C33BE4BD}"/>
                </a:ext>
              </a:extLst>
            </p:cNvPr>
            <p:cNvSpPr/>
            <p:nvPr userDrawn="1"/>
          </p:nvSpPr>
          <p:spPr>
            <a:xfrm>
              <a:off x="-254001" y="6712925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7BB4CA9-E979-EC4A-829D-86AF94213A38}"/>
                </a:ext>
              </a:extLst>
            </p:cNvPr>
            <p:cNvSpPr/>
            <p:nvPr userDrawn="1"/>
          </p:nvSpPr>
          <p:spPr>
            <a:xfrm>
              <a:off x="-254000" y="0"/>
              <a:ext cx="108000" cy="4778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A154131-74A7-8D41-A0AE-823553E65AA6}"/>
                </a:ext>
              </a:extLst>
            </p:cNvPr>
            <p:cNvSpPr/>
            <p:nvPr userDrawn="1"/>
          </p:nvSpPr>
          <p:spPr>
            <a:xfrm>
              <a:off x="-254001" y="1518720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3558C49-FA86-DE49-BA4E-26344A093F2A}"/>
                </a:ext>
              </a:extLst>
            </p:cNvPr>
            <p:cNvSpPr/>
            <p:nvPr userDrawn="1"/>
          </p:nvSpPr>
          <p:spPr>
            <a:xfrm>
              <a:off x="-254001" y="3596402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BE9BF6-8017-054D-88FF-724F9FD286DF}"/>
                </a:ext>
              </a:extLst>
            </p:cNvPr>
            <p:cNvSpPr/>
            <p:nvPr userDrawn="1"/>
          </p:nvSpPr>
          <p:spPr>
            <a:xfrm>
              <a:off x="-254001" y="5674084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A9088D3-88E8-ED40-833D-4D7C4F4737C7}"/>
                </a:ext>
              </a:extLst>
            </p:cNvPr>
            <p:cNvSpPr/>
            <p:nvPr userDrawn="1"/>
          </p:nvSpPr>
          <p:spPr>
            <a:xfrm>
              <a:off x="-254001" y="7751764"/>
              <a:ext cx="108000" cy="4778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06EDDB14-E283-0B41-AE10-A316F68A7084}"/>
              </a:ext>
            </a:extLst>
          </p:cNvPr>
          <p:cNvSpPr txBox="1"/>
          <p:nvPr userDrawn="1"/>
        </p:nvSpPr>
        <p:spPr>
          <a:xfrm>
            <a:off x="474911" y="7797982"/>
            <a:ext cx="3313355" cy="215444"/>
          </a:xfrm>
          <a:prstGeom prst="rect">
            <a:avLst/>
          </a:prstGeom>
          <a:noFill/>
        </p:spPr>
        <p:txBody>
          <a:bodyPr wrap="square" lIns="0" rtlCol="0" anchor="ctr" anchorCtr="0">
            <a:noAutofit/>
          </a:bodyPr>
          <a:lstStyle/>
          <a:p>
            <a:r>
              <a:rPr lang="en-US" sz="800"/>
              <a:t>Private &amp; Confidentia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EBA42E-F7C0-3845-B80D-009CDC419B9F}"/>
              </a:ext>
            </a:extLst>
          </p:cNvPr>
          <p:cNvSpPr txBox="1"/>
          <p:nvPr userDrawn="1"/>
        </p:nvSpPr>
        <p:spPr>
          <a:xfrm>
            <a:off x="7014116" y="7794702"/>
            <a:ext cx="6467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303C188-80CC-4CD3-AD91-156ECDB66FEF}" type="slidenum">
              <a:rPr lang="en-US" sz="800" smtClean="0"/>
              <a:t>‹#›</a:t>
            </a:fld>
            <a:endParaRPr lang="en-US" sz="800"/>
          </a:p>
        </p:txBody>
      </p:sp>
      <p:pic>
        <p:nvPicPr>
          <p:cNvPr id="28" name="Picture 27" descr="A picture containing text, bottle, sign&#10;&#10;Description automatically generated">
            <a:extLst>
              <a:ext uri="{FF2B5EF4-FFF2-40B4-BE49-F238E27FC236}">
                <a16:creationId xmlns:a16="http://schemas.microsoft.com/office/drawing/2014/main" id="{F771ADDB-1C38-4B41-977D-7FF856E180DB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3021" y="7641768"/>
            <a:ext cx="831633" cy="32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434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  <p:sldLayoutId id="2147484404" r:id="rId3"/>
    <p:sldLayoutId id="2147484405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4413" r:id="rId12"/>
    <p:sldLayoutId id="2147484414" r:id="rId13"/>
    <p:sldLayoutId id="2147484415" r:id="rId14"/>
    <p:sldLayoutId id="2147484416" r:id="rId15"/>
    <p:sldLayoutId id="2147484417" r:id="rId16"/>
  </p:sldLayoutIdLst>
  <p:transition spd="med" advClick="0" advTm="5000"/>
  <p:hf hdr="0" ftr="0" dt="0"/>
  <p:txStyles>
    <p:titleStyle>
      <a:lvl1pPr algn="l" defTabSz="1097224" rtl="0" eaLnBrk="1" latinLnBrk="0" hangingPunct="1">
        <a:lnSpc>
          <a:spcPct val="90000"/>
        </a:lnSpc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06" indent="-274306" algn="l" defTabSz="1097224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18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371530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142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468754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3017365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78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590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201" indent="-274306" algn="l" defTabSz="1097224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2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24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36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47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60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672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283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896" algn="l" defTabSz="1097224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69" userDrawn="1">
          <p15:clr>
            <a:srgbClr val="F26B43"/>
          </p15:clr>
        </p15:guide>
        <p15:guide id="2" orient="horz" pos="458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2"/>
            <a:ext cx="13167360" cy="54311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627622"/>
            <a:ext cx="3413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1" y="7627622"/>
            <a:ext cx="46329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1" y="7627622"/>
            <a:ext cx="3413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89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  <p:sldLayoutId id="2147484430" r:id="rId12"/>
  </p:sldLayoutIdLst>
  <p:transition spd="med" advClick="0" advTm="5000"/>
  <p:txStyles>
    <p:titleStyle>
      <a:lvl1pPr algn="ctr" defTabSz="548612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58" indent="-411458" algn="l" defTabSz="548612" rtl="0" eaLnBrk="1" latinLnBrk="0" hangingPunct="1">
        <a:spcBef>
          <a:spcPct val="20000"/>
        </a:spcBef>
        <a:buFont typeface="Arial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494" indent="-342883" algn="l" defTabSz="548612" rtl="0" eaLnBrk="1" latinLnBrk="0" hangingPunct="1">
        <a:spcBef>
          <a:spcPct val="20000"/>
        </a:spcBef>
        <a:buFont typeface="Arial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530" indent="-274306" algn="l" defTabSz="548612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142" indent="-274306" algn="l" defTabSz="548612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754" indent="-274306" algn="l" defTabSz="548612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365" indent="-274306" algn="l" defTabSz="5486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5978" indent="-274306" algn="l" defTabSz="5486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590" indent="-274306" algn="l" defTabSz="5486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201" indent="-274306" algn="l" defTabSz="54861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2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24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36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47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60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672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283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896" algn="l" defTabSz="548612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5840" y="438152"/>
            <a:ext cx="1261872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40" y="2190750"/>
            <a:ext cx="1261872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5840" y="7627622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F4993D-CB88-41B1-81F3-5F27CD1D04D9}" type="datetimeFigureOut">
              <a:rPr lang="en-AU" smtClean="0"/>
              <a:t>22/6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6320" y="7627622"/>
            <a:ext cx="4937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32720" y="7627622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55873C-7D2F-48F1-A9E3-E663BB4A4DFC}" type="slidenum">
              <a:rPr lang="en-AU" smtClean="0"/>
              <a:t>‹#›</a:t>
            </a:fld>
            <a:endParaRPr lang="en-AU"/>
          </a:p>
        </p:txBody>
      </p:sp>
      <p:grpSp>
        <p:nvGrpSpPr>
          <p:cNvPr id="7" name="Grid" hidden="1">
            <a:extLst>
              <a:ext uri="{FF2B5EF4-FFF2-40B4-BE49-F238E27FC236}">
                <a16:creationId xmlns:a16="http://schemas.microsoft.com/office/drawing/2014/main" id="{662B5AA7-F254-A04D-A489-35CE23183B56}"/>
              </a:ext>
            </a:extLst>
          </p:cNvPr>
          <p:cNvGrpSpPr/>
          <p:nvPr userDrawn="1"/>
        </p:nvGrpSpPr>
        <p:grpSpPr>
          <a:xfrm>
            <a:off x="-254001" y="-211930"/>
            <a:ext cx="14884401" cy="8441530"/>
            <a:chOff x="-254001" y="-211930"/>
            <a:chExt cx="14884401" cy="844153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0A03BF8-3E6B-7445-9BB6-EB466F33FEFF}"/>
                </a:ext>
              </a:extLst>
            </p:cNvPr>
            <p:cNvSpPr/>
            <p:nvPr userDrawn="1"/>
          </p:nvSpPr>
          <p:spPr>
            <a:xfrm flipV="1">
              <a:off x="5492565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AE74205-9F74-914E-B9FB-7D5E052773C3}"/>
                </a:ext>
              </a:extLst>
            </p:cNvPr>
            <p:cNvSpPr/>
            <p:nvPr userDrawn="1"/>
          </p:nvSpPr>
          <p:spPr>
            <a:xfrm flipV="1">
              <a:off x="8957833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A744F3-F08A-304D-B0FF-76FA34735A31}"/>
                </a:ext>
              </a:extLst>
            </p:cNvPr>
            <p:cNvSpPr/>
            <p:nvPr userDrawn="1"/>
          </p:nvSpPr>
          <p:spPr>
            <a:xfrm flipV="1">
              <a:off x="375993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D63670D-277C-814A-997A-C401418DAA12}"/>
                </a:ext>
              </a:extLst>
            </p:cNvPr>
            <p:cNvSpPr/>
            <p:nvPr userDrawn="1"/>
          </p:nvSpPr>
          <p:spPr>
            <a:xfrm flipV="1">
              <a:off x="202729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8B1499C-40DB-8049-952F-DEAB17B21577}"/>
                </a:ext>
              </a:extLst>
            </p:cNvPr>
            <p:cNvSpPr/>
            <p:nvPr userDrawn="1"/>
          </p:nvSpPr>
          <p:spPr>
            <a:xfrm flipV="1">
              <a:off x="-1" y="-208926"/>
              <a:ext cx="474664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8AAF9E7-7F26-EB4C-8EDC-2E7E854B0018}"/>
                </a:ext>
              </a:extLst>
            </p:cNvPr>
            <p:cNvSpPr/>
            <p:nvPr userDrawn="1"/>
          </p:nvSpPr>
          <p:spPr>
            <a:xfrm flipV="1">
              <a:off x="7225199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517F569-E95E-3046-806C-18D49316E461}"/>
                </a:ext>
              </a:extLst>
            </p:cNvPr>
            <p:cNvSpPr/>
            <p:nvPr userDrawn="1"/>
          </p:nvSpPr>
          <p:spPr>
            <a:xfrm flipV="1">
              <a:off x="1069046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31F0466-75E0-114B-A8A4-995C9CF122A6}"/>
                </a:ext>
              </a:extLst>
            </p:cNvPr>
            <p:cNvSpPr/>
            <p:nvPr userDrawn="1"/>
          </p:nvSpPr>
          <p:spPr>
            <a:xfrm flipV="1">
              <a:off x="1242310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A069809-E1B3-8A42-B025-C26F0DC16710}"/>
                </a:ext>
              </a:extLst>
            </p:cNvPr>
            <p:cNvSpPr/>
            <p:nvPr userDrawn="1"/>
          </p:nvSpPr>
          <p:spPr>
            <a:xfrm flipV="1">
              <a:off x="14155738" y="-211930"/>
              <a:ext cx="474662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8639833-24DC-334D-84C6-BCD725745317}"/>
                </a:ext>
              </a:extLst>
            </p:cNvPr>
            <p:cNvSpPr/>
            <p:nvPr userDrawn="1"/>
          </p:nvSpPr>
          <p:spPr>
            <a:xfrm>
              <a:off x="-254001" y="479879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156D66D-2269-1D4F-A71E-BF714769FCF3}"/>
                </a:ext>
              </a:extLst>
            </p:cNvPr>
            <p:cNvSpPr/>
            <p:nvPr userDrawn="1"/>
          </p:nvSpPr>
          <p:spPr>
            <a:xfrm>
              <a:off x="-254001" y="2557561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323D581-AE5D-AC4E-A545-B0EFA367D4C2}"/>
                </a:ext>
              </a:extLst>
            </p:cNvPr>
            <p:cNvSpPr/>
            <p:nvPr userDrawn="1"/>
          </p:nvSpPr>
          <p:spPr>
            <a:xfrm>
              <a:off x="-254001" y="4635243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B267C21-1308-8B45-96B4-2FA0E97F8C64}"/>
                </a:ext>
              </a:extLst>
            </p:cNvPr>
            <p:cNvSpPr/>
            <p:nvPr userDrawn="1"/>
          </p:nvSpPr>
          <p:spPr>
            <a:xfrm>
              <a:off x="-254001" y="6712925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7102D2C-D6E4-734C-A937-18B2C7A9CEBC}"/>
                </a:ext>
              </a:extLst>
            </p:cNvPr>
            <p:cNvSpPr/>
            <p:nvPr userDrawn="1"/>
          </p:nvSpPr>
          <p:spPr>
            <a:xfrm>
              <a:off x="-254000" y="0"/>
              <a:ext cx="108000" cy="4778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9A24AC2-FCA9-CE48-926A-74917A0D1FFB}"/>
                </a:ext>
              </a:extLst>
            </p:cNvPr>
            <p:cNvSpPr/>
            <p:nvPr userDrawn="1"/>
          </p:nvSpPr>
          <p:spPr>
            <a:xfrm>
              <a:off x="-254001" y="1518720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0EE9BB5-30FF-4447-A1DF-380F488FD93F}"/>
                </a:ext>
              </a:extLst>
            </p:cNvPr>
            <p:cNvSpPr/>
            <p:nvPr userDrawn="1"/>
          </p:nvSpPr>
          <p:spPr>
            <a:xfrm>
              <a:off x="-254001" y="3596402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7049D5F-EAEF-1A45-8123-14699EB1C852}"/>
                </a:ext>
              </a:extLst>
            </p:cNvPr>
            <p:cNvSpPr/>
            <p:nvPr userDrawn="1"/>
          </p:nvSpPr>
          <p:spPr>
            <a:xfrm>
              <a:off x="-254001" y="5674084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46EB349-1CF2-924A-8CDE-995DBA2F5762}"/>
                </a:ext>
              </a:extLst>
            </p:cNvPr>
            <p:cNvSpPr/>
            <p:nvPr userDrawn="1"/>
          </p:nvSpPr>
          <p:spPr>
            <a:xfrm>
              <a:off x="-254001" y="7751764"/>
              <a:ext cx="108000" cy="4778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E362B70-EE4C-FF4D-890A-3BA0BBB83EED}"/>
              </a:ext>
            </a:extLst>
          </p:cNvPr>
          <p:cNvSpPr txBox="1"/>
          <p:nvPr userDrawn="1"/>
        </p:nvSpPr>
        <p:spPr>
          <a:xfrm>
            <a:off x="474911" y="7797982"/>
            <a:ext cx="3313355" cy="215444"/>
          </a:xfrm>
          <a:prstGeom prst="rect">
            <a:avLst/>
          </a:prstGeom>
          <a:noFill/>
        </p:spPr>
        <p:txBody>
          <a:bodyPr wrap="square" lIns="0" rtlCol="0" anchor="ctr" anchorCtr="0">
            <a:noAutofit/>
          </a:bodyPr>
          <a:lstStyle/>
          <a:p>
            <a:r>
              <a:rPr lang="en-US" sz="800"/>
              <a:t>Private &amp; Confidentia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1B468C-623F-D046-A9E7-E46D287A538A}"/>
              </a:ext>
            </a:extLst>
          </p:cNvPr>
          <p:cNvSpPr txBox="1"/>
          <p:nvPr userDrawn="1"/>
        </p:nvSpPr>
        <p:spPr>
          <a:xfrm>
            <a:off x="7014116" y="7794702"/>
            <a:ext cx="6467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303C188-80CC-4CD3-AD91-156ECDB66FEF}" type="slidenum">
              <a:rPr lang="en-US" sz="800" smtClean="0"/>
              <a:t>‹#›</a:t>
            </a:fld>
            <a:endParaRPr lang="en-US" sz="800"/>
          </a:p>
        </p:txBody>
      </p:sp>
      <p:pic>
        <p:nvPicPr>
          <p:cNvPr id="28" name="Picture 27" descr="A picture containing text, bottle, sign&#10;&#10;Description automatically generated">
            <a:extLst>
              <a:ext uri="{FF2B5EF4-FFF2-40B4-BE49-F238E27FC236}">
                <a16:creationId xmlns:a16="http://schemas.microsoft.com/office/drawing/2014/main" id="{6DCF3658-AF71-AA45-A211-AEFE96F2B1E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3021" y="7641768"/>
            <a:ext cx="831633" cy="32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39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2" r:id="rId1"/>
    <p:sldLayoutId id="2147484433" r:id="rId2"/>
    <p:sldLayoutId id="2147484434" r:id="rId3"/>
    <p:sldLayoutId id="2147484435" r:id="rId4"/>
    <p:sldLayoutId id="2147484436" r:id="rId5"/>
    <p:sldLayoutId id="2147484437" r:id="rId6"/>
    <p:sldLayoutId id="2147484438" r:id="rId7"/>
    <p:sldLayoutId id="2147484439" r:id="rId8"/>
    <p:sldLayoutId id="2147484440" r:id="rId9"/>
    <p:sldLayoutId id="2147484441" r:id="rId10"/>
    <p:sldLayoutId id="2147484442" r:id="rId11"/>
    <p:sldLayoutId id="2147484443" r:id="rId12"/>
    <p:sldLayoutId id="2147484444" r:id="rId13"/>
    <p:sldLayoutId id="2147484445" r:id="rId14"/>
    <p:sldLayoutId id="2147484446" r:id="rId15"/>
  </p:sldLayoutIdLst>
  <p:hf hdr="0" ft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69" userDrawn="1">
          <p15:clr>
            <a:srgbClr val="F26B43"/>
          </p15:clr>
        </p15:guide>
        <p15:guide id="2" orient="horz" pos="4588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20240"/>
            <a:ext cx="13167360" cy="54311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627621"/>
            <a:ext cx="3413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7DFE7-A708-4447-AAB5-3A622EC2ED4B}" type="datetimeFigureOut">
              <a:rPr lang="en-US" smtClean="0"/>
              <a:pPr/>
              <a:t>6/2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0" y="7627621"/>
            <a:ext cx="46329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0" y="7627621"/>
            <a:ext cx="3413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6DB6EC-3428-884F-B859-8F02CAD97A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309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8" r:id="rId1"/>
    <p:sldLayoutId id="2147484449" r:id="rId2"/>
    <p:sldLayoutId id="2147484450" r:id="rId3"/>
    <p:sldLayoutId id="2147484451" r:id="rId4"/>
    <p:sldLayoutId id="2147484452" r:id="rId5"/>
    <p:sldLayoutId id="2147484453" r:id="rId6"/>
    <p:sldLayoutId id="2147484454" r:id="rId7"/>
    <p:sldLayoutId id="2147484455" r:id="rId8"/>
    <p:sldLayoutId id="2147484456" r:id="rId9"/>
    <p:sldLayoutId id="2147484457" r:id="rId10"/>
    <p:sldLayoutId id="2147484458" r:id="rId11"/>
    <p:sldLayoutId id="2147484459" r:id="rId12"/>
  </p:sldLayoutIdLst>
  <p:txStyles>
    <p:titleStyle>
      <a:lvl1pPr algn="ctr" defTabSz="548640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11480" indent="-411480" algn="l" defTabSz="548640" rtl="0" eaLnBrk="1" latinLnBrk="0" hangingPunct="1">
        <a:spcBef>
          <a:spcPct val="20000"/>
        </a:spcBef>
        <a:buFont typeface="Arial"/>
        <a:buChar char="•"/>
        <a:defRPr sz="3840" kern="1200">
          <a:solidFill>
            <a:schemeClr val="tx1"/>
          </a:solidFill>
          <a:latin typeface="+mn-lt"/>
          <a:ea typeface="+mn-ea"/>
          <a:cs typeface="+mn-cs"/>
        </a:defRPr>
      </a:lvl1pPr>
      <a:lvl2pPr marL="891540" indent="-342900" algn="l" defTabSz="548640" rtl="0" eaLnBrk="1" latinLnBrk="0" hangingPunct="1">
        <a:spcBef>
          <a:spcPct val="20000"/>
        </a:spcBef>
        <a:buFont typeface="Arial"/>
        <a:buChar char="–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548640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54864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54864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533F08-EA6A-3F4C-9F35-A43CAF9AD8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5840" y="2190750"/>
            <a:ext cx="1261872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2BE812D-2554-6B45-B999-8F00A55D05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2720" y="7627621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16F5E-C680-AF4F-BDC2-3FF5860AD2A3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tle Placeholder 12">
            <a:extLst>
              <a:ext uri="{FF2B5EF4-FFF2-40B4-BE49-F238E27FC236}">
                <a16:creationId xmlns:a16="http://schemas.microsoft.com/office/drawing/2014/main" id="{2DBFC183-6B69-174A-A689-5E580E3A7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grpSp>
        <p:nvGrpSpPr>
          <p:cNvPr id="5" name="Grid" hidden="1">
            <a:extLst>
              <a:ext uri="{FF2B5EF4-FFF2-40B4-BE49-F238E27FC236}">
                <a16:creationId xmlns:a16="http://schemas.microsoft.com/office/drawing/2014/main" id="{E245BB44-B42B-9E49-9724-A9F37AC82AD5}"/>
              </a:ext>
            </a:extLst>
          </p:cNvPr>
          <p:cNvGrpSpPr/>
          <p:nvPr userDrawn="1"/>
        </p:nvGrpSpPr>
        <p:grpSpPr>
          <a:xfrm>
            <a:off x="-254001" y="-211930"/>
            <a:ext cx="14884401" cy="8441530"/>
            <a:chOff x="-254001" y="-211930"/>
            <a:chExt cx="14884401" cy="844153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A883040-F72D-6A47-A700-DDFE311FAB6E}"/>
                </a:ext>
              </a:extLst>
            </p:cNvPr>
            <p:cNvSpPr/>
            <p:nvPr userDrawn="1"/>
          </p:nvSpPr>
          <p:spPr>
            <a:xfrm flipV="1">
              <a:off x="5492565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A6EC66E-6A88-0E47-8D72-5CB5420914CE}"/>
                </a:ext>
              </a:extLst>
            </p:cNvPr>
            <p:cNvSpPr/>
            <p:nvPr userDrawn="1"/>
          </p:nvSpPr>
          <p:spPr>
            <a:xfrm flipV="1">
              <a:off x="8957833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625F612-91C9-F242-BDE2-57AAE200EBD0}"/>
                </a:ext>
              </a:extLst>
            </p:cNvPr>
            <p:cNvSpPr/>
            <p:nvPr userDrawn="1"/>
          </p:nvSpPr>
          <p:spPr>
            <a:xfrm flipV="1">
              <a:off x="375993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7509EE-505B-4446-9A4F-10F785862D35}"/>
                </a:ext>
              </a:extLst>
            </p:cNvPr>
            <p:cNvSpPr/>
            <p:nvPr userDrawn="1"/>
          </p:nvSpPr>
          <p:spPr>
            <a:xfrm flipV="1">
              <a:off x="202729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4A7058F-A0F4-4B42-8856-E373A1A899F4}"/>
                </a:ext>
              </a:extLst>
            </p:cNvPr>
            <p:cNvSpPr/>
            <p:nvPr userDrawn="1"/>
          </p:nvSpPr>
          <p:spPr>
            <a:xfrm flipV="1">
              <a:off x="-1" y="-208926"/>
              <a:ext cx="474664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503553E-F652-DB47-B1EA-7DA4FDF6971C}"/>
                </a:ext>
              </a:extLst>
            </p:cNvPr>
            <p:cNvSpPr/>
            <p:nvPr userDrawn="1"/>
          </p:nvSpPr>
          <p:spPr>
            <a:xfrm flipV="1">
              <a:off x="7225199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87C708C-69C3-9942-AB8F-192FBDEBD8A0}"/>
                </a:ext>
              </a:extLst>
            </p:cNvPr>
            <p:cNvSpPr/>
            <p:nvPr userDrawn="1"/>
          </p:nvSpPr>
          <p:spPr>
            <a:xfrm flipV="1">
              <a:off x="10690467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A414E83-B350-FC4D-84E5-EAA7EB573AC8}"/>
                </a:ext>
              </a:extLst>
            </p:cNvPr>
            <p:cNvSpPr/>
            <p:nvPr userDrawn="1"/>
          </p:nvSpPr>
          <p:spPr>
            <a:xfrm flipV="1">
              <a:off x="12423101" y="-211930"/>
              <a:ext cx="180000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A621C1F-BDA0-204B-B795-089362386270}"/>
                </a:ext>
              </a:extLst>
            </p:cNvPr>
            <p:cNvSpPr/>
            <p:nvPr userDrawn="1"/>
          </p:nvSpPr>
          <p:spPr>
            <a:xfrm flipV="1">
              <a:off x="14155738" y="-211930"/>
              <a:ext cx="474662" cy="13268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sz="2159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93320B6-9C7D-3F45-A186-BDF76DF2CF73}"/>
                </a:ext>
              </a:extLst>
            </p:cNvPr>
            <p:cNvSpPr/>
            <p:nvPr userDrawn="1"/>
          </p:nvSpPr>
          <p:spPr>
            <a:xfrm>
              <a:off x="-254001" y="479879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BA162CE-9E5C-234D-8D2B-DECACAD4B8CA}"/>
                </a:ext>
              </a:extLst>
            </p:cNvPr>
            <p:cNvSpPr/>
            <p:nvPr userDrawn="1"/>
          </p:nvSpPr>
          <p:spPr>
            <a:xfrm>
              <a:off x="-254001" y="2557561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79D2B82-EE07-8D4B-9626-D899ACB61384}"/>
                </a:ext>
              </a:extLst>
            </p:cNvPr>
            <p:cNvSpPr/>
            <p:nvPr userDrawn="1"/>
          </p:nvSpPr>
          <p:spPr>
            <a:xfrm>
              <a:off x="-254001" y="4635243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FF1CC6-18B5-D841-8716-9A5AC2B5E8B1}"/>
                </a:ext>
              </a:extLst>
            </p:cNvPr>
            <p:cNvSpPr/>
            <p:nvPr userDrawn="1"/>
          </p:nvSpPr>
          <p:spPr>
            <a:xfrm>
              <a:off x="-254001" y="6712925"/>
              <a:ext cx="108000" cy="10368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D1A443C-BB5B-854E-A15F-9E4DF493E39E}"/>
                </a:ext>
              </a:extLst>
            </p:cNvPr>
            <p:cNvSpPr/>
            <p:nvPr userDrawn="1"/>
          </p:nvSpPr>
          <p:spPr>
            <a:xfrm>
              <a:off x="-254000" y="0"/>
              <a:ext cx="108000" cy="4778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062764B-5686-7946-9FFD-3A84F78860DD}"/>
                </a:ext>
              </a:extLst>
            </p:cNvPr>
            <p:cNvSpPr/>
            <p:nvPr userDrawn="1"/>
          </p:nvSpPr>
          <p:spPr>
            <a:xfrm>
              <a:off x="-254001" y="1518720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B75474C-3AF8-2347-8D7E-2F236E2ACBF1}"/>
                </a:ext>
              </a:extLst>
            </p:cNvPr>
            <p:cNvSpPr/>
            <p:nvPr userDrawn="1"/>
          </p:nvSpPr>
          <p:spPr>
            <a:xfrm>
              <a:off x="-254001" y="3596402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4670D95-8875-164D-A595-1CCFB701ADC3}"/>
                </a:ext>
              </a:extLst>
            </p:cNvPr>
            <p:cNvSpPr/>
            <p:nvPr userDrawn="1"/>
          </p:nvSpPr>
          <p:spPr>
            <a:xfrm>
              <a:off x="-254001" y="5674084"/>
              <a:ext cx="108000" cy="10368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9E5AF83-D0FC-BC48-B0E1-7AB08AF91DDA}"/>
                </a:ext>
              </a:extLst>
            </p:cNvPr>
            <p:cNvSpPr/>
            <p:nvPr userDrawn="1"/>
          </p:nvSpPr>
          <p:spPr>
            <a:xfrm>
              <a:off x="-254001" y="7751764"/>
              <a:ext cx="108000" cy="47783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3858333-7CA7-284A-AC70-BFDD66CFB11B}"/>
              </a:ext>
            </a:extLst>
          </p:cNvPr>
          <p:cNvSpPr txBox="1"/>
          <p:nvPr userDrawn="1"/>
        </p:nvSpPr>
        <p:spPr>
          <a:xfrm>
            <a:off x="474911" y="7797982"/>
            <a:ext cx="3313355" cy="215444"/>
          </a:xfrm>
          <a:prstGeom prst="rect">
            <a:avLst/>
          </a:prstGeom>
          <a:noFill/>
        </p:spPr>
        <p:txBody>
          <a:bodyPr wrap="square" lIns="0" rtlCol="0" anchor="ctr" anchorCtr="0">
            <a:noAutofit/>
          </a:bodyPr>
          <a:lstStyle/>
          <a:p>
            <a:r>
              <a:rPr lang="en-US" sz="800"/>
              <a:t>Private &amp; Confidentia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0487B4-0300-2A45-B0A6-105817EEC9E4}"/>
              </a:ext>
            </a:extLst>
          </p:cNvPr>
          <p:cNvSpPr txBox="1"/>
          <p:nvPr userDrawn="1"/>
        </p:nvSpPr>
        <p:spPr>
          <a:xfrm>
            <a:off x="7014116" y="7794702"/>
            <a:ext cx="6467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5303C188-80CC-4CD3-AD91-156ECDB66FEF}" type="slidenum">
              <a:rPr lang="en-US" sz="800" smtClean="0"/>
              <a:t>‹#›</a:t>
            </a:fld>
            <a:endParaRPr lang="en-US" sz="800"/>
          </a:p>
        </p:txBody>
      </p:sp>
      <p:pic>
        <p:nvPicPr>
          <p:cNvPr id="28" name="Picture 27" descr="A picture containing text, bottle, sign&#10;&#10;Description automatically generated">
            <a:extLst>
              <a:ext uri="{FF2B5EF4-FFF2-40B4-BE49-F238E27FC236}">
                <a16:creationId xmlns:a16="http://schemas.microsoft.com/office/drawing/2014/main" id="{02DB2D5D-9337-B540-BA82-B31D4672233A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3021" y="7641768"/>
            <a:ext cx="831633" cy="324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84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505" r:id="rId2"/>
    <p:sldLayoutId id="2147484491" r:id="rId3"/>
    <p:sldLayoutId id="2147484492" r:id="rId4"/>
    <p:sldLayoutId id="2147484493" r:id="rId5"/>
    <p:sldLayoutId id="2147484494" r:id="rId6"/>
    <p:sldLayoutId id="2147484495" r:id="rId7"/>
    <p:sldLayoutId id="2147484496" r:id="rId8"/>
    <p:sldLayoutId id="2147484497" r:id="rId9"/>
    <p:sldLayoutId id="2147484498" r:id="rId10"/>
    <p:sldLayoutId id="2147484499" r:id="rId11"/>
    <p:sldLayoutId id="2147484500" r:id="rId12"/>
    <p:sldLayoutId id="2147484501" r:id="rId13"/>
    <p:sldLayoutId id="2147484503" r:id="rId14"/>
    <p:sldLayoutId id="2147484504" r:id="rId15"/>
  </p:sldLayoutIdLst>
  <p:hf hdr="0" ft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5280" b="0" i="0" kern="1200" baseline="0">
          <a:solidFill>
            <a:srgbClr val="C40D3C"/>
          </a:solidFill>
          <a:latin typeface="Helvetica" pitchFamily="2" charset="0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 baseline="0">
          <a:solidFill>
            <a:schemeClr val="tx1"/>
          </a:solidFill>
          <a:latin typeface="Helvetica Light" panose="020B0403020202020204" pitchFamily="34" charset="0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 baseline="0">
          <a:solidFill>
            <a:schemeClr val="tx1"/>
          </a:solidFill>
          <a:latin typeface="Helvetica Light" panose="020B0403020202020204" pitchFamily="34" charset="0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Helvetica Light" panose="020B0403020202020204" pitchFamily="34" charset="0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 baseline="0">
          <a:solidFill>
            <a:schemeClr val="tx1"/>
          </a:solidFill>
          <a:latin typeface="Helvetica Light" panose="020B0403020202020204" pitchFamily="34" charset="0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 baseline="0">
          <a:solidFill>
            <a:schemeClr val="tx1"/>
          </a:solidFill>
          <a:latin typeface="Helvetica Light" panose="020B0403020202020204" pitchFamily="34" charset="0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69" userDrawn="1">
          <p15:clr>
            <a:srgbClr val="F26B43"/>
          </p15:clr>
        </p15:guide>
        <p15:guide id="2" orient="horz" pos="45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8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jpeg"/><Relationship Id="rId3" Type="http://schemas.openxmlformats.org/officeDocument/2006/relationships/image" Target="../media/image10.png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17" Type="http://schemas.openxmlformats.org/officeDocument/2006/relationships/image" Target="../media/image24.png"/><Relationship Id="rId25" Type="http://schemas.openxmlformats.org/officeDocument/2006/relationships/image" Target="../media/image32.jpe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23.jpeg"/><Relationship Id="rId20" Type="http://schemas.openxmlformats.org/officeDocument/2006/relationships/image" Target="../media/image27.png"/><Relationship Id="rId29" Type="http://schemas.openxmlformats.org/officeDocument/2006/relationships/image" Target="../media/image36.jpeg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24" Type="http://schemas.openxmlformats.org/officeDocument/2006/relationships/image" Target="../media/image31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tiff"/><Relationship Id="rId28" Type="http://schemas.openxmlformats.org/officeDocument/2006/relationships/image" Target="../media/image35.png"/><Relationship Id="rId10" Type="http://schemas.openxmlformats.org/officeDocument/2006/relationships/image" Target="../media/image17.jpeg"/><Relationship Id="rId19" Type="http://schemas.openxmlformats.org/officeDocument/2006/relationships/image" Target="../media/image26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svg"/><Relationship Id="rId27" Type="http://schemas.openxmlformats.org/officeDocument/2006/relationships/image" Target="../media/image34.jpeg"/><Relationship Id="rId30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1018D31A-9A1C-EA42-93CF-AE7427772144}"/>
              </a:ext>
            </a:extLst>
          </p:cNvPr>
          <p:cNvSpPr txBox="1">
            <a:spLocks/>
          </p:cNvSpPr>
          <p:nvPr/>
        </p:nvSpPr>
        <p:spPr>
          <a:xfrm>
            <a:off x="781586" y="863575"/>
            <a:ext cx="8179534" cy="273589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377" rtl="0" eaLnBrk="1" latinLnBrk="0" hangingPunct="1">
              <a:lnSpc>
                <a:spcPts val="6000"/>
              </a:lnSpc>
              <a:spcBef>
                <a:spcPts val="1000"/>
              </a:spcBef>
              <a:buFont typeface="Arial" panose="020B0604020202020204" pitchFamily="34" charset="0"/>
              <a:buNone/>
              <a:defRPr sz="6500" b="0" i="0" kern="1200">
                <a:solidFill>
                  <a:schemeClr val="bg1"/>
                </a:solidFill>
                <a:latin typeface="Times" pitchFamily="2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40" rtl="0" eaLnBrk="1" fontAlgn="auto" latinLnBrk="0" hangingPunct="1">
              <a:lnSpc>
                <a:spcPts val="6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64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57CD45-EED9-6E49-9A71-E7261C9001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9505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5CC08-B012-47DA-AB0F-0610D33F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970754"/>
            <a:ext cx="12618720" cy="1590676"/>
          </a:xfrm>
        </p:spPr>
        <p:txBody>
          <a:bodyPr/>
          <a:lstStyle/>
          <a:p>
            <a:r>
              <a:rPr lang="en-US" dirty="0"/>
              <a:t>Leveraging OSCA’s digital presence to grow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EDAFCB82-B9E9-4438-9A64-4B7AB26A35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049220"/>
              </p:ext>
            </p:extLst>
          </p:nvPr>
        </p:nvGraphicFramePr>
        <p:xfrm>
          <a:off x="3038295" y="3025264"/>
          <a:ext cx="7866185" cy="3438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5923">
                  <a:extLst>
                    <a:ext uri="{9D8B030D-6E8A-4147-A177-3AD203B41FA5}">
                      <a16:colId xmlns:a16="http://schemas.microsoft.com/office/drawing/2014/main" val="3326509895"/>
                    </a:ext>
                  </a:extLst>
                </a:gridCol>
                <a:gridCol w="4730262">
                  <a:extLst>
                    <a:ext uri="{9D8B030D-6E8A-4147-A177-3AD203B41FA5}">
                      <a16:colId xmlns:a16="http://schemas.microsoft.com/office/drawing/2014/main" val="2302217021"/>
                    </a:ext>
                  </a:extLst>
                </a:gridCol>
              </a:tblGrid>
              <a:tr h="502716">
                <a:tc>
                  <a:txBody>
                    <a:bodyPr/>
                    <a:lstStyle/>
                    <a:p>
                      <a:r>
                        <a:rPr lang="en-US" dirty="0"/>
                        <a:t>Chann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ser b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1252701"/>
                  </a:ext>
                </a:extLst>
              </a:tr>
              <a:tr h="54643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Faceboo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705 follow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9654784"/>
                  </a:ext>
                </a:extLst>
              </a:tr>
              <a:tr h="54643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Insta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OSCA – 476 follower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YOBS – 990 follow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1554210"/>
                  </a:ext>
                </a:extLst>
              </a:tr>
              <a:tr h="54643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Linked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,265 follow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4193490"/>
                  </a:ext>
                </a:extLst>
              </a:tr>
              <a:tr h="54643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Great Scot magaz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3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0974960"/>
                  </a:ext>
                </a:extLst>
              </a:tr>
              <a:tr h="546430">
                <a:tc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OSCAconn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ver 2000 registered us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8633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05622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A1403-00AC-48E0-88FE-D03CA9202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702164"/>
            <a:ext cx="12618720" cy="1590676"/>
          </a:xfrm>
        </p:spPr>
        <p:txBody>
          <a:bodyPr/>
          <a:lstStyle/>
          <a:p>
            <a:r>
              <a:rPr lang="en-US" dirty="0"/>
              <a:t>Great Scot Magazi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D87869-8F81-45B8-AE2D-A35AD52EE29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05840" y="2282128"/>
            <a:ext cx="5222752" cy="524530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ublished 3 times a year this magazine is for the Scotch Commun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rovides clubs the opportunity to submit articles on news and ev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vailable online in digital format.</a:t>
            </a:r>
          </a:p>
          <a:p>
            <a:endParaRPr lang="en-US" sz="2000" dirty="0"/>
          </a:p>
        </p:txBody>
      </p:sp>
      <p:pic>
        <p:nvPicPr>
          <p:cNvPr id="36866" name="Picture 2">
            <a:extLst>
              <a:ext uri="{FF2B5EF4-FFF2-40B4-BE49-F238E27FC236}">
                <a16:creationId xmlns:a16="http://schemas.microsoft.com/office/drawing/2014/main" id="{5211624E-4578-4609-812C-E0FF17403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5482" y="1859874"/>
            <a:ext cx="3630954" cy="155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7" name="Picture 3">
            <a:extLst>
              <a:ext uri="{FF2B5EF4-FFF2-40B4-BE49-F238E27FC236}">
                <a16:creationId xmlns:a16="http://schemas.microsoft.com/office/drawing/2014/main" id="{B054AEA4-A2C5-4D7C-8D34-E57BA59D36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6497" y="3412636"/>
            <a:ext cx="7562335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9873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93F50-C81F-4E54-9BF5-23B8B9847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4638" y="438150"/>
            <a:ext cx="12618720" cy="1590676"/>
          </a:xfrm>
        </p:spPr>
        <p:txBody>
          <a:bodyPr/>
          <a:lstStyle/>
          <a:p>
            <a:r>
              <a:rPr lang="en-US" dirty="0" err="1"/>
              <a:t>OSCAConnect</a:t>
            </a:r>
            <a:r>
              <a:rPr lang="en-US" dirty="0"/>
              <a:t> </a:t>
            </a:r>
            <a:br>
              <a:rPr lang="en-US" dirty="0"/>
            </a:br>
            <a:r>
              <a:rPr lang="en-US" sz="2000" dirty="0" err="1">
                <a:latin typeface="Helvetica Light" panose="020B0403020202020204" pitchFamily="34" charset="0"/>
              </a:rPr>
              <a:t>www.oscaconnect.com.au</a:t>
            </a:r>
            <a:endParaRPr lang="en-US" dirty="0">
              <a:latin typeface="Helvetica Light" panose="020B040302020202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EFF74A-E5DE-4410-B79A-C526ACF1E6B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4638" y="2028826"/>
            <a:ext cx="7030228" cy="5245308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umni Portal- Registrations required with over 2000 registered memb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ach club has a group with their own feed for news, events and pho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source folders available to store med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roup members– anyone who has selected your club as an ‘interest’ on registration</a:t>
            </a:r>
          </a:p>
          <a:p>
            <a:r>
              <a:rPr lang="en-US" sz="1600" dirty="0">
                <a:latin typeface="Helvetica" pitchFamily="2" charset="0"/>
              </a:rPr>
              <a:t>Through </a:t>
            </a:r>
            <a:r>
              <a:rPr lang="en-US" sz="1600" dirty="0" err="1">
                <a:latin typeface="Helvetica" pitchFamily="2" charset="0"/>
              </a:rPr>
              <a:t>OSCAconnect</a:t>
            </a:r>
            <a:r>
              <a:rPr lang="en-US" sz="1600" dirty="0">
                <a:latin typeface="Helvetica" pitchFamily="2" charset="0"/>
              </a:rPr>
              <a:t>, clubs and societies can:</a:t>
            </a:r>
          </a:p>
          <a:p>
            <a:pPr marL="834390" lvl="1" indent="-285750"/>
            <a:r>
              <a:rPr lang="en-US" sz="1600" dirty="0"/>
              <a:t>Communicate what they do to active alumni and promote the benefits of club membership</a:t>
            </a:r>
          </a:p>
          <a:p>
            <a:pPr marL="834390" lvl="1" indent="-285750"/>
            <a:r>
              <a:rPr lang="en-US" sz="1600" dirty="0"/>
              <a:t>Set-up and post events and send event invites to group members and download RSVP lists</a:t>
            </a:r>
          </a:p>
          <a:p>
            <a:pPr marL="834390" lvl="1" indent="-285750"/>
            <a:r>
              <a:rPr lang="en-US" sz="1600" dirty="0"/>
              <a:t>Message group members</a:t>
            </a:r>
          </a:p>
          <a:p>
            <a:pPr marL="834390" lvl="1" indent="-285750"/>
            <a:r>
              <a:rPr lang="en-US" sz="1600" dirty="0"/>
              <a:t>Post news and update to their group feed</a:t>
            </a:r>
          </a:p>
          <a:p>
            <a:pPr marL="834390" lvl="1" indent="-285750"/>
            <a:r>
              <a:rPr lang="en-US" sz="1600" dirty="0"/>
              <a:t>Upload event photos (any group member can do this and post the group fe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E68BFF-EB80-9E48-87C2-242F71B5E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0019" y="4506199"/>
            <a:ext cx="7030229" cy="30742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9B44E98-7EB5-9D47-8792-F669FB6BD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019" y="438150"/>
            <a:ext cx="5782166" cy="3743025"/>
          </a:xfrm>
          <a:prstGeom prst="rect">
            <a:avLst/>
          </a:prstGeom>
          <a:ln w="76200">
            <a:solidFill>
              <a:srgbClr val="C40D3C"/>
            </a:solidFill>
          </a:ln>
        </p:spPr>
      </p:pic>
    </p:spTree>
    <p:extLst>
      <p:ext uri="{BB962C8B-B14F-4D97-AF65-F5344CB8AC3E}">
        <p14:creationId xmlns:p14="http://schemas.microsoft.com/office/powerpoint/2010/main" val="32087351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93F50-C81F-4E54-9BF5-23B8B9847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4638" y="707779"/>
            <a:ext cx="12618720" cy="1590676"/>
          </a:xfrm>
        </p:spPr>
        <p:txBody>
          <a:bodyPr/>
          <a:lstStyle/>
          <a:p>
            <a:r>
              <a:rPr lang="en-US" dirty="0" err="1"/>
              <a:t>OSCAnet</a:t>
            </a:r>
            <a:r>
              <a:rPr lang="en-US" dirty="0"/>
              <a:t> </a:t>
            </a:r>
            <a:br>
              <a:rPr lang="en-US" dirty="0"/>
            </a:br>
            <a:r>
              <a:rPr lang="en-US" sz="2000" dirty="0" err="1">
                <a:latin typeface="Helvetica Light" panose="020B0403020202020204" pitchFamily="34" charset="0"/>
              </a:rPr>
              <a:t>www.oscanet.com.au</a:t>
            </a:r>
            <a:endParaRPr lang="en-US" dirty="0">
              <a:latin typeface="Helvetica Light" panose="020B0403020202020204" pitchFamily="34" charset="0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205F2FE-4C0F-8646-8ADB-2DE9ED39C0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0909" y="2461816"/>
            <a:ext cx="5171646" cy="5245308"/>
          </a:xfrm>
        </p:spPr>
        <p:txBody>
          <a:bodyPr>
            <a:normAutofit/>
          </a:bodyPr>
          <a:lstStyle/>
          <a:p>
            <a:r>
              <a:rPr lang="en-US" sz="2000" dirty="0"/>
              <a:t>Each club has its own page:</a:t>
            </a:r>
          </a:p>
          <a:p>
            <a:pPr marL="834390" lvl="1" indent="-285750"/>
            <a:r>
              <a:rPr lang="en-US" sz="2000" dirty="0"/>
              <a:t>Downloadable forms, linked to website, description, photos</a:t>
            </a:r>
          </a:p>
          <a:p>
            <a:pPr marL="285750" indent="-285750"/>
            <a:r>
              <a:rPr lang="en-US" sz="2000" b="1" dirty="0"/>
              <a:t>Club videos </a:t>
            </a:r>
            <a:r>
              <a:rPr lang="en-US" sz="2000" dirty="0"/>
              <a:t>– produced by YOBs now for 6 clubs &amp; societies.</a:t>
            </a:r>
          </a:p>
          <a:p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6B5B60-0B10-2241-97DD-1668E80A67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108" y="2418932"/>
            <a:ext cx="7384949" cy="4491001"/>
          </a:xfrm>
          <a:prstGeom prst="rect">
            <a:avLst/>
          </a:prstGeom>
          <a:ln w="76200">
            <a:solidFill>
              <a:srgbClr val="15233C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996937-488A-4047-A1C0-1D83BD06E3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5686" y="4707316"/>
            <a:ext cx="3915764" cy="2202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608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F88D79-27F0-8D40-A9B2-8F4149A0E0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32720" y="7627621"/>
            <a:ext cx="3291840" cy="438150"/>
          </a:xfrm>
        </p:spPr>
        <p:txBody>
          <a:bodyPr/>
          <a:lstStyle/>
          <a:p>
            <a:fld id="{2C716F5E-C680-AF4F-BDC2-3FF5860AD2A3}" type="slidenum">
              <a:rPr lang="en-US" smtClean="0"/>
              <a:t>14</a:t>
            </a:fld>
            <a:endParaRPr lang="en-US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A5C25325-915B-E643-A552-191FE840E568}"/>
              </a:ext>
            </a:extLst>
          </p:cNvPr>
          <p:cNvSpPr txBox="1">
            <a:spLocks/>
          </p:cNvSpPr>
          <p:nvPr/>
        </p:nvSpPr>
        <p:spPr>
          <a:xfrm>
            <a:off x="5613299" y="2663016"/>
            <a:ext cx="8639503" cy="18367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b="0" i="0" kern="1200" baseline="0">
                <a:solidFill>
                  <a:srgbClr val="C40D3C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r>
              <a:rPr lang="en-US" b="1" dirty="0"/>
              <a:t>05</a:t>
            </a:r>
            <a:r>
              <a:rPr lang="en-US" dirty="0"/>
              <a:t> | </a:t>
            </a:r>
            <a:r>
              <a:rPr lang="en-US" dirty="0">
                <a:latin typeface="Helvetica Light" panose="020B0403020202020204" pitchFamily="34" charset="0"/>
              </a:rPr>
              <a:t>Sponsorship and Merit Awards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523F2A4-CFE8-AC49-B0CF-F8CE44BA88D3}"/>
              </a:ext>
            </a:extLst>
          </p:cNvPr>
          <p:cNvSpPr txBox="1">
            <a:spLocks/>
          </p:cNvSpPr>
          <p:nvPr/>
        </p:nvSpPr>
        <p:spPr>
          <a:xfrm>
            <a:off x="5673259" y="2294016"/>
            <a:ext cx="9758855" cy="23182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Philip Wright (‘69), Acting OSCA Executive Director</a:t>
            </a:r>
          </a:p>
        </p:txBody>
      </p:sp>
    </p:spTree>
    <p:extLst>
      <p:ext uri="{BB962C8B-B14F-4D97-AF65-F5344CB8AC3E}">
        <p14:creationId xmlns:p14="http://schemas.microsoft.com/office/powerpoint/2010/main" val="8753200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04A97C-06D6-4222-ACEE-393D2900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4210" y="1214396"/>
            <a:ext cx="13681075" cy="528651"/>
          </a:xfrm>
        </p:spPr>
        <p:txBody>
          <a:bodyPr>
            <a:normAutofit fontScale="90000"/>
          </a:bodyPr>
          <a:lstStyle/>
          <a:p>
            <a:r>
              <a:rPr lang="en-US" dirty="0"/>
              <a:t>Sponsorship – investing in the future of club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E92F8C-39DB-4384-A362-34AACD7C90C0}"/>
              </a:ext>
            </a:extLst>
          </p:cNvPr>
          <p:cNvSpPr txBox="1"/>
          <p:nvPr/>
        </p:nvSpPr>
        <p:spPr>
          <a:xfrm>
            <a:off x="1412823" y="2230390"/>
            <a:ext cx="8440615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rgbClr val="C40D3C"/>
                </a:solidFill>
                <a:latin typeface="Helvetica" pitchFamily="2" charset="0"/>
              </a:rPr>
              <a:t>OSCA Sponsorship Criteria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Helvetica Light" panose="020B0403020202020204" pitchFamily="34" charset="0"/>
              </a:rPr>
              <a:t>Single or multi-year proposal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Helvetica Light" panose="020B0403020202020204" pitchFamily="34" charset="0"/>
              </a:rPr>
              <a:t>Focused on strategic investments to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-"/>
            </a:pPr>
            <a:r>
              <a:rPr lang="en-US" sz="2400" dirty="0">
                <a:latin typeface="Helvetica Light" panose="020B0403020202020204" pitchFamily="34" charset="0"/>
              </a:rPr>
              <a:t>Support membership growth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-"/>
            </a:pPr>
            <a:r>
              <a:rPr lang="en-US" sz="2400" dirty="0">
                <a:latin typeface="Helvetica Light" panose="020B0403020202020204" pitchFamily="34" charset="0"/>
              </a:rPr>
              <a:t>Build core capabilities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-"/>
            </a:pPr>
            <a:r>
              <a:rPr lang="en-US" sz="2400" dirty="0">
                <a:latin typeface="Helvetica Light" panose="020B0403020202020204" pitchFamily="34" charset="0"/>
              </a:rPr>
              <a:t>Enhance club resilience, including digital capabilities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Helvetica Light" panose="020B0403020202020204" pitchFamily="34" charset="0"/>
              </a:rPr>
              <a:t>Not for covering operational running cos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Helvetica Light" panose="020B0403020202020204" pitchFamily="34" charset="0"/>
              </a:rPr>
              <a:t>Potential for 50/50 investments.</a:t>
            </a:r>
          </a:p>
        </p:txBody>
      </p:sp>
    </p:spTree>
    <p:extLst>
      <p:ext uri="{BB962C8B-B14F-4D97-AF65-F5344CB8AC3E}">
        <p14:creationId xmlns:p14="http://schemas.microsoft.com/office/powerpoint/2010/main" val="21061312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04A97C-06D6-4222-ACEE-393D2900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5" y="844633"/>
            <a:ext cx="13681075" cy="528651"/>
          </a:xfrm>
        </p:spPr>
        <p:txBody>
          <a:bodyPr>
            <a:normAutofit fontScale="90000"/>
          </a:bodyPr>
          <a:lstStyle/>
          <a:p>
            <a:r>
              <a:rPr lang="en-US" dirty="0"/>
              <a:t>Merit Awards – </a:t>
            </a:r>
            <a:r>
              <a:rPr lang="en-US" dirty="0" err="1"/>
              <a:t>recognising</a:t>
            </a:r>
            <a:r>
              <a:rPr lang="en-US" dirty="0"/>
              <a:t> contributions to club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2EA0F7-334A-48EA-B165-FB747261B020}"/>
              </a:ext>
            </a:extLst>
          </p:cNvPr>
          <p:cNvSpPr txBox="1"/>
          <p:nvPr/>
        </p:nvSpPr>
        <p:spPr>
          <a:xfrm>
            <a:off x="474665" y="2569686"/>
            <a:ext cx="728015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latin typeface="Helvetica" pitchFamily="2" charset="0"/>
              </a:rPr>
              <a:t>Factors include: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Helvetica Light" panose="020B0403020202020204" pitchFamily="34" charset="0"/>
              </a:rPr>
              <a:t>10+ years of involvement within the OSCA environment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Helvetica Light" panose="020B0403020202020204" pitchFamily="34" charset="0"/>
              </a:rPr>
              <a:t>Holding leadership positions in affiliated clubs and societies over a substantial period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Helvetica Light" panose="020B0403020202020204" pitchFamily="34" charset="0"/>
              </a:rPr>
              <a:t>Long-term membership (20 years or more) and outstanding participation in affiliated clubs and societi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Helvetica Light" panose="020B0403020202020204" pitchFamily="34" charset="0"/>
              </a:rPr>
              <a:t>Strong support of the nomination by members of the club or society.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Helvetica Light" panose="020B0403020202020204" pitchFamily="34" charset="0"/>
              </a:rPr>
              <a:t>Unique contribution of the member that should stand as the most important criteri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Helvetica Light" panose="020B0403020202020204" pitchFamily="34" charset="0"/>
              </a:rPr>
              <a:t>Merit Awards are available each year.</a:t>
            </a:r>
          </a:p>
        </p:txBody>
      </p:sp>
      <p:pic>
        <p:nvPicPr>
          <p:cNvPr id="37890" name="Picture 2">
            <a:extLst>
              <a:ext uri="{FF2B5EF4-FFF2-40B4-BE49-F238E27FC236}">
                <a16:creationId xmlns:a16="http://schemas.microsoft.com/office/drawing/2014/main" id="{424FE646-D5EB-467B-88B9-055D711797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76838" y="3036380"/>
            <a:ext cx="5472159" cy="3046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776572-44B7-461A-A7E6-DF9928071A14}"/>
              </a:ext>
            </a:extLst>
          </p:cNvPr>
          <p:cNvSpPr txBox="1"/>
          <p:nvPr/>
        </p:nvSpPr>
        <p:spPr>
          <a:xfrm>
            <a:off x="474666" y="1423896"/>
            <a:ext cx="134743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rgbClr val="C40D3C"/>
                </a:solidFill>
                <a:latin typeface="Helvetica Light" panose="020B0403020202020204" pitchFamily="34" charset="0"/>
              </a:rPr>
              <a:t>Bestowed on those whose commitment to an OSCA club or society has been, in the view of its members, of an outstanding nature</a:t>
            </a:r>
          </a:p>
        </p:txBody>
      </p:sp>
    </p:spTree>
    <p:extLst>
      <p:ext uri="{BB962C8B-B14F-4D97-AF65-F5344CB8AC3E}">
        <p14:creationId xmlns:p14="http://schemas.microsoft.com/office/powerpoint/2010/main" val="14983516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o 1">
            <a:extLst>
              <a:ext uri="{FF2B5EF4-FFF2-40B4-BE49-F238E27FC236}">
                <a16:creationId xmlns:a16="http://schemas.microsoft.com/office/drawing/2014/main" id="{44CD5A58-65DE-4EBA-B19A-A28A44842CE4}"/>
              </a:ext>
            </a:extLst>
          </p:cNvPr>
          <p:cNvSpPr txBox="1">
            <a:spLocks/>
          </p:cNvSpPr>
          <p:nvPr/>
        </p:nvSpPr>
        <p:spPr>
          <a:xfrm>
            <a:off x="387699" y="2097621"/>
            <a:ext cx="1486684" cy="965312"/>
          </a:xfrm>
          <a:prstGeom prst="rect">
            <a:avLst/>
          </a:prstGeom>
        </p:spPr>
        <p:txBody>
          <a:bodyPr anchor="t" anchorCtr="0"/>
          <a:lstStyle>
            <a:lvl1pPr marL="0" indent="0" algn="r" defTabSz="109728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7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C40D3C"/>
                </a:solidFill>
                <a:latin typeface="Helvetica" pitchFamily="2" charset="0"/>
              </a:rPr>
              <a:t>0</a:t>
            </a:r>
            <a:r>
              <a:rPr lang="en-US" dirty="0">
                <a:solidFill>
                  <a:srgbClr val="C40D3C"/>
                </a:solidFill>
                <a:latin typeface="Helvetica" pitchFamily="2" charset="0"/>
              </a:rPr>
              <a:t>1</a:t>
            </a:r>
          </a:p>
        </p:txBody>
      </p:sp>
      <p:sp>
        <p:nvSpPr>
          <p:cNvPr id="20" name="No 2">
            <a:extLst>
              <a:ext uri="{FF2B5EF4-FFF2-40B4-BE49-F238E27FC236}">
                <a16:creationId xmlns:a16="http://schemas.microsoft.com/office/drawing/2014/main" id="{5271DA24-66ED-413D-BC86-8EB5BED5ABF6}"/>
              </a:ext>
            </a:extLst>
          </p:cNvPr>
          <p:cNvSpPr txBox="1">
            <a:spLocks/>
          </p:cNvSpPr>
          <p:nvPr/>
        </p:nvSpPr>
        <p:spPr>
          <a:xfrm>
            <a:off x="364253" y="3220138"/>
            <a:ext cx="1486684" cy="965312"/>
          </a:xfrm>
          <a:prstGeom prst="rect">
            <a:avLst/>
          </a:prstGeom>
        </p:spPr>
        <p:txBody>
          <a:bodyPr anchor="t" anchorCtr="0"/>
          <a:lstStyle>
            <a:lvl1pPr marL="0" indent="0" algn="r" defTabSz="109728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7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C40D3C"/>
                </a:solidFill>
                <a:latin typeface="Helvetica" pitchFamily="2" charset="0"/>
              </a:rPr>
              <a:t>0</a:t>
            </a:r>
            <a:r>
              <a:rPr lang="en-US" dirty="0">
                <a:solidFill>
                  <a:srgbClr val="C40D3C"/>
                </a:solidFill>
                <a:latin typeface="Helvetica" pitchFamily="2" charset="0"/>
              </a:rPr>
              <a:t>2</a:t>
            </a:r>
          </a:p>
        </p:txBody>
      </p:sp>
      <p:sp>
        <p:nvSpPr>
          <p:cNvPr id="21" name="No 3">
            <a:extLst>
              <a:ext uri="{FF2B5EF4-FFF2-40B4-BE49-F238E27FC236}">
                <a16:creationId xmlns:a16="http://schemas.microsoft.com/office/drawing/2014/main" id="{E03074B6-F171-4078-86CD-49776775E970}"/>
              </a:ext>
            </a:extLst>
          </p:cNvPr>
          <p:cNvSpPr txBox="1">
            <a:spLocks/>
          </p:cNvSpPr>
          <p:nvPr/>
        </p:nvSpPr>
        <p:spPr>
          <a:xfrm>
            <a:off x="364253" y="4422713"/>
            <a:ext cx="1486684" cy="965312"/>
          </a:xfrm>
          <a:prstGeom prst="rect">
            <a:avLst/>
          </a:prstGeom>
        </p:spPr>
        <p:txBody>
          <a:bodyPr anchor="t" anchorCtr="0"/>
          <a:lstStyle>
            <a:lvl1pPr marL="0" indent="0" algn="r" defTabSz="109728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7000" b="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C40D3C"/>
                </a:solidFill>
                <a:latin typeface="Helvetica" pitchFamily="2" charset="0"/>
              </a:rPr>
              <a:t>0</a:t>
            </a:r>
            <a:r>
              <a:rPr lang="en-US" dirty="0">
                <a:solidFill>
                  <a:srgbClr val="C40D3C"/>
                </a:solidFill>
                <a:latin typeface="Helvetica" pitchFamily="2" charset="0"/>
              </a:rPr>
              <a:t>3</a:t>
            </a:r>
          </a:p>
        </p:txBody>
      </p:sp>
      <p:sp>
        <p:nvSpPr>
          <p:cNvPr id="22" name="No 4">
            <a:extLst>
              <a:ext uri="{FF2B5EF4-FFF2-40B4-BE49-F238E27FC236}">
                <a16:creationId xmlns:a16="http://schemas.microsoft.com/office/drawing/2014/main" id="{476721A7-DA84-4F24-8E94-290083FBFBDA}"/>
              </a:ext>
            </a:extLst>
          </p:cNvPr>
          <p:cNvSpPr txBox="1">
            <a:spLocks/>
          </p:cNvSpPr>
          <p:nvPr/>
        </p:nvSpPr>
        <p:spPr>
          <a:xfrm>
            <a:off x="364253" y="5549322"/>
            <a:ext cx="1486684" cy="965312"/>
          </a:xfrm>
          <a:prstGeom prst="rect">
            <a:avLst/>
          </a:prstGeom>
        </p:spPr>
        <p:txBody>
          <a:bodyPr anchor="t" anchorCtr="0"/>
          <a:lstStyle>
            <a:lvl1pPr marL="0" indent="0" algn="r" defTabSz="109728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7000" b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C40D3C"/>
                </a:solidFill>
                <a:latin typeface="Helvetica" pitchFamily="2" charset="0"/>
              </a:rPr>
              <a:t>0</a:t>
            </a:r>
            <a:r>
              <a:rPr lang="en-US" dirty="0">
                <a:solidFill>
                  <a:srgbClr val="C40D3C"/>
                </a:solidFill>
                <a:latin typeface="Helvetica" pitchFamily="2" charset="0"/>
              </a:rPr>
              <a:t>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48F60DA-1B1C-49EA-A724-BC97BD0C8F31}"/>
              </a:ext>
            </a:extLst>
          </p:cNvPr>
          <p:cNvCxnSpPr>
            <a:cxnSpLocks/>
          </p:cNvCxnSpPr>
          <p:nvPr/>
        </p:nvCxnSpPr>
        <p:spPr>
          <a:xfrm>
            <a:off x="815184" y="3062933"/>
            <a:ext cx="473463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F352727-45C2-4222-B193-63A68AC53D4E}"/>
              </a:ext>
            </a:extLst>
          </p:cNvPr>
          <p:cNvCxnSpPr>
            <a:cxnSpLocks/>
          </p:cNvCxnSpPr>
          <p:nvPr/>
        </p:nvCxnSpPr>
        <p:spPr>
          <a:xfrm>
            <a:off x="815184" y="4218613"/>
            <a:ext cx="473463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3325E0A-201A-43CD-9D18-7D686BA874C8}"/>
              </a:ext>
            </a:extLst>
          </p:cNvPr>
          <p:cNvCxnSpPr>
            <a:cxnSpLocks/>
          </p:cNvCxnSpPr>
          <p:nvPr/>
        </p:nvCxnSpPr>
        <p:spPr>
          <a:xfrm>
            <a:off x="815184" y="5367212"/>
            <a:ext cx="473463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A0D95CE-A93E-498C-86F6-A81119E06566}"/>
              </a:ext>
            </a:extLst>
          </p:cNvPr>
          <p:cNvCxnSpPr>
            <a:cxnSpLocks/>
          </p:cNvCxnSpPr>
          <p:nvPr/>
        </p:nvCxnSpPr>
        <p:spPr>
          <a:xfrm>
            <a:off x="815184" y="6538271"/>
            <a:ext cx="473463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8D0C74E-44D2-4872-B8A0-E5C078DA064E}"/>
              </a:ext>
            </a:extLst>
          </p:cNvPr>
          <p:cNvCxnSpPr>
            <a:cxnSpLocks/>
          </p:cNvCxnSpPr>
          <p:nvPr/>
        </p:nvCxnSpPr>
        <p:spPr>
          <a:xfrm>
            <a:off x="833921" y="1974961"/>
            <a:ext cx="473463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9">
            <a:extLst>
              <a:ext uri="{FF2B5EF4-FFF2-40B4-BE49-F238E27FC236}">
                <a16:creationId xmlns:a16="http://schemas.microsoft.com/office/drawing/2014/main" id="{A9259528-5A58-DE45-8868-B56137FD1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191" y="674297"/>
            <a:ext cx="6677251" cy="946151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AEB578C-D86A-4A77-B9B7-D2CE3A884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8618" y="3320859"/>
            <a:ext cx="3419475" cy="1223962"/>
          </a:xfrm>
        </p:spPr>
        <p:txBody>
          <a:bodyPr/>
          <a:lstStyle/>
          <a:p>
            <a:pPr marL="0" lvl="1" indent="0">
              <a:buNone/>
            </a:pPr>
            <a:r>
              <a:rPr lang="en-US" sz="2000" dirty="0"/>
              <a:t>Access to the School and its facilities</a:t>
            </a:r>
          </a:p>
          <a:p>
            <a:endParaRPr lang="en-US" sz="20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CDA292-6BFC-4E56-81C3-F2E1337B3B1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137266" y="4598241"/>
            <a:ext cx="3419475" cy="1223962"/>
          </a:xfrm>
        </p:spPr>
        <p:txBody>
          <a:bodyPr/>
          <a:lstStyle/>
          <a:p>
            <a:pPr marL="0" lvl="1" indent="0">
              <a:buNone/>
            </a:pPr>
            <a:r>
              <a:rPr lang="en-US" sz="2000" dirty="0"/>
              <a:t>Managing our risks</a:t>
            </a:r>
          </a:p>
          <a:p>
            <a:endParaRPr lang="en-US" sz="20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35976D-87F3-4A18-A08E-6E96C5180C3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148989" y="5669690"/>
            <a:ext cx="3419475" cy="1225550"/>
          </a:xfrm>
        </p:spPr>
        <p:txBody>
          <a:bodyPr/>
          <a:lstStyle/>
          <a:p>
            <a:pPr marL="0" lvl="1" indent="0">
              <a:buNone/>
            </a:pPr>
            <a:r>
              <a:rPr lang="en-US" sz="2000" dirty="0"/>
              <a:t>Marketing support for clubs</a:t>
            </a:r>
          </a:p>
          <a:p>
            <a:endParaRPr lang="en-US" sz="20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7751E917-F5AE-4944-B79C-5AFA1A0D1CA9}"/>
              </a:ext>
            </a:extLst>
          </p:cNvPr>
          <p:cNvSpPr txBox="1">
            <a:spLocks/>
          </p:cNvSpPr>
          <p:nvPr/>
        </p:nvSpPr>
        <p:spPr>
          <a:xfrm>
            <a:off x="2207604" y="2295971"/>
            <a:ext cx="3419475" cy="1223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90000"/>
              </a:lnSpc>
            </a:pPr>
            <a:r>
              <a:rPr lang="en-US" sz="2000" dirty="0">
                <a:latin typeface="Helvetica Light" panose="020B0403020202020204" pitchFamily="34" charset="0"/>
              </a:rPr>
              <a:t>OSCA’s 2024 goals</a:t>
            </a:r>
          </a:p>
        </p:txBody>
      </p:sp>
      <p:sp>
        <p:nvSpPr>
          <p:cNvPr id="23" name="No 4">
            <a:extLst>
              <a:ext uri="{FF2B5EF4-FFF2-40B4-BE49-F238E27FC236}">
                <a16:creationId xmlns:a16="http://schemas.microsoft.com/office/drawing/2014/main" id="{5A4A1682-114E-4236-A555-2F24C680A133}"/>
              </a:ext>
            </a:extLst>
          </p:cNvPr>
          <p:cNvSpPr txBox="1">
            <a:spLocks/>
          </p:cNvSpPr>
          <p:nvPr/>
        </p:nvSpPr>
        <p:spPr>
          <a:xfrm>
            <a:off x="364253" y="6715314"/>
            <a:ext cx="1486684" cy="965312"/>
          </a:xfrm>
          <a:prstGeom prst="rect">
            <a:avLst/>
          </a:prstGeom>
        </p:spPr>
        <p:txBody>
          <a:bodyPr anchor="t" anchorCtr="0"/>
          <a:lstStyle>
            <a:lvl1pPr marL="0" indent="0" algn="r" defTabSz="109728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7000" b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C40D3C"/>
                </a:solidFill>
                <a:latin typeface="Helvetica" pitchFamily="2" charset="0"/>
              </a:rPr>
              <a:t>05</a:t>
            </a:r>
            <a:endParaRPr lang="en-US" dirty="0">
              <a:solidFill>
                <a:srgbClr val="C40D3C"/>
              </a:solidFill>
              <a:latin typeface="Helvetica" pitchFamily="2" charset="0"/>
            </a:endParaRP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211A9A9B-D821-4305-BA02-D69F74E13B00}"/>
              </a:ext>
            </a:extLst>
          </p:cNvPr>
          <p:cNvSpPr txBox="1">
            <a:spLocks/>
          </p:cNvSpPr>
          <p:nvPr/>
        </p:nvSpPr>
        <p:spPr>
          <a:xfrm>
            <a:off x="2207603" y="6893652"/>
            <a:ext cx="3419475" cy="1225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788" indent="-26670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360" indent="-213360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816" indent="-211456" algn="l" defTabSz="10972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97280" rtl="0" eaLnBrk="1" latinLnBrk="0" hangingPunct="1">
              <a:lnSpc>
                <a:spcPct val="100000"/>
              </a:lnSpc>
              <a:spcBef>
                <a:spcPts val="216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000" dirty="0">
                <a:latin typeface="Helvetica Light" panose="020B0403020202020204" pitchFamily="34" charset="0"/>
              </a:rPr>
              <a:t>Sponsorship &amp; Merit Awards</a:t>
            </a:r>
          </a:p>
          <a:p>
            <a:endParaRPr lang="en-US" sz="2000" dirty="0"/>
          </a:p>
        </p:txBody>
      </p:sp>
      <p:pic>
        <p:nvPicPr>
          <p:cNvPr id="40" name="Picture 4" descr="Old Scotch Football Club - Old Scotch Collegians Association (OSCA)">
            <a:extLst>
              <a:ext uri="{FF2B5EF4-FFF2-40B4-BE49-F238E27FC236}">
                <a16:creationId xmlns:a16="http://schemas.microsoft.com/office/drawing/2014/main" id="{D415D34B-053A-1243-AD19-5B6BF173F6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39115" y="868807"/>
            <a:ext cx="1244888" cy="102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Old Scotch Collegians Lodge No. 396 - Home | Facebook">
            <a:extLst>
              <a:ext uri="{FF2B5EF4-FFF2-40B4-BE49-F238E27FC236}">
                <a16:creationId xmlns:a16="http://schemas.microsoft.com/office/drawing/2014/main" id="{1DC58294-EDD8-8442-A8C5-FED1BC687C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38814" y="6482977"/>
            <a:ext cx="1999625" cy="1018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OSMaD - Home | Facebook">
            <a:extLst>
              <a:ext uri="{FF2B5EF4-FFF2-40B4-BE49-F238E27FC236}">
                <a16:creationId xmlns:a16="http://schemas.microsoft.com/office/drawing/2014/main" id="{7FDA631C-976D-8242-B3FC-1F0E8A5D4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25122" y="872587"/>
            <a:ext cx="1103680" cy="109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Old Scotch Tennis Club - Old Scotch Collegians Association (OSCA)">
            <a:extLst>
              <a:ext uri="{FF2B5EF4-FFF2-40B4-BE49-F238E27FC236}">
                <a16:creationId xmlns:a16="http://schemas.microsoft.com/office/drawing/2014/main" id="{5615D82A-CC86-2B43-9D51-9DE9800AFB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9362" y="907080"/>
            <a:ext cx="1034793" cy="1034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" descr="Old Scotch Film Society - Old Scotch Collegians Association (OSCA)">
            <a:extLst>
              <a:ext uri="{FF2B5EF4-FFF2-40B4-BE49-F238E27FC236}">
                <a16:creationId xmlns:a16="http://schemas.microsoft.com/office/drawing/2014/main" id="{4F58ED9A-DD90-824D-9043-2C217C1D8A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3267" y="5103895"/>
            <a:ext cx="1103519" cy="1103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" descr="Old Scotch Bushwalking Club - Old Scotch Collegians Association (OSCA)">
            <a:extLst>
              <a:ext uri="{FF2B5EF4-FFF2-40B4-BE49-F238E27FC236}">
                <a16:creationId xmlns:a16="http://schemas.microsoft.com/office/drawing/2014/main" id="{C5391A83-2BB9-0C4E-AF66-0F5FC1515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4394" y="2259801"/>
            <a:ext cx="1097384" cy="1097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6" descr="Old Scotch Symphony Orchestra - Old Scotch Collegians Association (OSCA)">
            <a:extLst>
              <a:ext uri="{FF2B5EF4-FFF2-40B4-BE49-F238E27FC236}">
                <a16:creationId xmlns:a16="http://schemas.microsoft.com/office/drawing/2014/main" id="{229F7654-DE36-634B-A068-A21BB05DD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38190" y="6220052"/>
            <a:ext cx="1486684" cy="1486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8" descr="Old Scotch Badminton Club - Old Scotch Collegians Association (OSCA)">
            <a:extLst>
              <a:ext uri="{FF2B5EF4-FFF2-40B4-BE49-F238E27FC236}">
                <a16:creationId xmlns:a16="http://schemas.microsoft.com/office/drawing/2014/main" id="{95D5B654-B7F7-6640-B52E-36719F1E5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49177" y="2465660"/>
            <a:ext cx="1318072" cy="805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0" descr="Clubs and Societies - Old Scotch Collegians Association (OSCA)">
            <a:extLst>
              <a:ext uri="{FF2B5EF4-FFF2-40B4-BE49-F238E27FC236}">
                <a16:creationId xmlns:a16="http://schemas.microsoft.com/office/drawing/2014/main" id="{9A44221E-9740-DB49-9162-86B388D45F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9921" y="803535"/>
            <a:ext cx="1073273" cy="122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4" descr="Old Scotch Soccer Club">
            <a:extLst>
              <a:ext uri="{FF2B5EF4-FFF2-40B4-BE49-F238E27FC236}">
                <a16:creationId xmlns:a16="http://schemas.microsoft.com/office/drawing/2014/main" id="{3FE54AD9-5492-1A45-B7A5-AB52D0AB06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84838" y="5093921"/>
            <a:ext cx="1946331" cy="104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6" descr="Clubs and Societies - Old Scotch Collegians Association (OSCA)">
            <a:extLst>
              <a:ext uri="{FF2B5EF4-FFF2-40B4-BE49-F238E27FC236}">
                <a16:creationId xmlns:a16="http://schemas.microsoft.com/office/drawing/2014/main" id="{EE586E40-8440-0648-BF40-28A7F7FC6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9868" y="2283756"/>
            <a:ext cx="1146847" cy="1146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8" descr="Clubs and Societies - Old Scotch Collegians Association (OSCA)">
            <a:extLst>
              <a:ext uri="{FF2B5EF4-FFF2-40B4-BE49-F238E27FC236}">
                <a16:creationId xmlns:a16="http://schemas.microsoft.com/office/drawing/2014/main" id="{ED6286BC-E816-AF40-843B-2FFB70E840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58342" y="4992832"/>
            <a:ext cx="1232360" cy="1232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30" descr="Clubs and Societies - Old Scotch Collegians Association (OSCA)">
            <a:extLst>
              <a:ext uri="{FF2B5EF4-FFF2-40B4-BE49-F238E27FC236}">
                <a16:creationId xmlns:a16="http://schemas.microsoft.com/office/drawing/2014/main" id="{B143CEAE-DE93-D742-AC1D-4434E6F93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25233" y="755836"/>
            <a:ext cx="1304156" cy="1304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34" descr="Old Scotch Pipes and Drums - Old Scotch Collegians Association (OSCA)">
            <a:extLst>
              <a:ext uri="{FF2B5EF4-FFF2-40B4-BE49-F238E27FC236}">
                <a16:creationId xmlns:a16="http://schemas.microsoft.com/office/drawing/2014/main" id="{E8F68FA1-C400-D146-875F-235BE8E032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75498" y="3501832"/>
            <a:ext cx="785275" cy="1147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36" descr="Old Scotch Basketball Club - Old Scotch Collegians Association (OSCA)">
            <a:extLst>
              <a:ext uri="{FF2B5EF4-FFF2-40B4-BE49-F238E27FC236}">
                <a16:creationId xmlns:a16="http://schemas.microsoft.com/office/drawing/2014/main" id="{F090BE63-E3EE-444A-82A3-9CE9D386D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537" y="3501832"/>
            <a:ext cx="1270854" cy="1270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38" descr="Clubs and Societies - Old Scotch Collegians Association (OSCA)">
            <a:extLst>
              <a:ext uri="{FF2B5EF4-FFF2-40B4-BE49-F238E27FC236}">
                <a16:creationId xmlns:a16="http://schemas.microsoft.com/office/drawing/2014/main" id="{ACB9615B-8AE1-9046-A58F-C35A2CBBF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3371" y="5045581"/>
            <a:ext cx="1187863" cy="1187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0" descr="Clubs and Societies - Old Scotch Collegians Association (OSCA)">
            <a:extLst>
              <a:ext uri="{FF2B5EF4-FFF2-40B4-BE49-F238E27FC236}">
                <a16:creationId xmlns:a16="http://schemas.microsoft.com/office/drawing/2014/main" id="{0F8D5746-ABC5-A346-AE7A-172B934F7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75994" y="3619263"/>
            <a:ext cx="1195393" cy="1195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2" descr="Clubs and Societies - Old Scotch Collegians Association (OSCA)">
            <a:extLst>
              <a:ext uri="{FF2B5EF4-FFF2-40B4-BE49-F238E27FC236}">
                <a16:creationId xmlns:a16="http://schemas.microsoft.com/office/drawing/2014/main" id="{7CC52FC9-E855-9E4E-8C5E-67626E2B1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0747" y="2260597"/>
            <a:ext cx="1097384" cy="1097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0646E819-6CB3-9A47-9D93-931C68D060BB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566348" y="6720651"/>
            <a:ext cx="1643933" cy="5800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14D8E5-DF5E-D54C-8CFC-0B1F8C091E49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93858" y="840632"/>
            <a:ext cx="1232359" cy="12255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46929E-B2EE-4145-A05C-E7F49F0D872E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7396" y="3601180"/>
            <a:ext cx="1120916" cy="112471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AE7DEE-61AE-BF44-AC6A-F931B5C4AE85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1955" y="3513561"/>
            <a:ext cx="1046747" cy="1143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3B387E2-63D9-0D4B-89EB-E5146FC7B667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1423" y="3510827"/>
            <a:ext cx="1638635" cy="100406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A967320-3C95-D948-9CA9-00EF60D8B535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50210" y="2323513"/>
            <a:ext cx="1041400" cy="1143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47673BD-6B90-9144-AA7E-A595986E83AB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2662" y="4794213"/>
            <a:ext cx="1151615" cy="143923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0AC55C5A-522B-3E42-9139-B006615163F3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6866" y="2293594"/>
            <a:ext cx="1866766" cy="1004350"/>
          </a:xfrm>
          <a:prstGeom prst="rect">
            <a:avLst/>
          </a:prstGeom>
        </p:spPr>
      </p:pic>
      <p:pic>
        <p:nvPicPr>
          <p:cNvPr id="33794" name="Picture 2" descr="Scottish Heritage Cultural Foundation – Ringwood Highland Games and Celtic  Festival">
            <a:extLst>
              <a:ext uri="{FF2B5EF4-FFF2-40B4-BE49-F238E27FC236}">
                <a16:creationId xmlns:a16="http://schemas.microsoft.com/office/drawing/2014/main" id="{36899370-BC93-0D44-8466-09A82B1D9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01537" y="6630697"/>
            <a:ext cx="1608683" cy="75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3995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F88D79-27F0-8D40-A9B2-8F4149A0E0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32720" y="7627621"/>
            <a:ext cx="3291840" cy="438150"/>
          </a:xfrm>
        </p:spPr>
        <p:txBody>
          <a:bodyPr/>
          <a:lstStyle/>
          <a:p>
            <a:fld id="{2C716F5E-C680-AF4F-BDC2-3FF5860AD2A3}" type="slidenum">
              <a:rPr lang="en-US" smtClean="0"/>
              <a:t>3</a:t>
            </a:fld>
            <a:endParaRPr lang="en-US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A5C25325-915B-E643-A552-191FE840E568}"/>
              </a:ext>
            </a:extLst>
          </p:cNvPr>
          <p:cNvSpPr txBox="1">
            <a:spLocks/>
          </p:cNvSpPr>
          <p:nvPr/>
        </p:nvSpPr>
        <p:spPr>
          <a:xfrm>
            <a:off x="5580991" y="3291004"/>
            <a:ext cx="10392522" cy="18367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b="0" i="0" kern="1200" baseline="0">
                <a:solidFill>
                  <a:srgbClr val="C40D3C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r>
              <a:rPr lang="en-US" b="1" dirty="0"/>
              <a:t>01</a:t>
            </a:r>
            <a:r>
              <a:rPr lang="en-US" dirty="0"/>
              <a:t> | </a:t>
            </a:r>
            <a:r>
              <a:rPr lang="en-US" dirty="0">
                <a:latin typeface="Helvetica Light" panose="020B0403020202020204" pitchFamily="34" charset="0"/>
              </a:rPr>
              <a:t>OSCA’s 2024 goals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523F2A4-CFE8-AC49-B0CF-F8CE44BA88D3}"/>
              </a:ext>
            </a:extLst>
          </p:cNvPr>
          <p:cNvSpPr txBox="1">
            <a:spLocks/>
          </p:cNvSpPr>
          <p:nvPr/>
        </p:nvSpPr>
        <p:spPr>
          <a:xfrm>
            <a:off x="5628289" y="2517906"/>
            <a:ext cx="9758855" cy="23182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Andrew Wilson, OSCA President</a:t>
            </a:r>
          </a:p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Matt Guthridge, Committee Chair, OSCA Clubs &amp; Societies</a:t>
            </a:r>
          </a:p>
        </p:txBody>
      </p:sp>
    </p:spTree>
    <p:extLst>
      <p:ext uri="{BB962C8B-B14F-4D97-AF65-F5344CB8AC3E}">
        <p14:creationId xmlns:p14="http://schemas.microsoft.com/office/powerpoint/2010/main" val="889917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04A97C-06D6-4222-ACEE-393D2900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479878"/>
            <a:ext cx="13681075" cy="528651"/>
          </a:xfrm>
        </p:spPr>
        <p:txBody>
          <a:bodyPr>
            <a:normAutofit fontScale="90000"/>
          </a:bodyPr>
          <a:lstStyle/>
          <a:p>
            <a:r>
              <a:rPr lang="en-US" dirty="0"/>
              <a:t>OSCA Goal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6617B11-F8B9-44F4-BC8E-0598F3B4A0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071257"/>
              </p:ext>
            </p:extLst>
          </p:nvPr>
        </p:nvGraphicFramePr>
        <p:xfrm>
          <a:off x="502372" y="1085089"/>
          <a:ext cx="13469938" cy="6888355"/>
        </p:xfrm>
        <a:graphic>
          <a:graphicData uri="http://schemas.openxmlformats.org/drawingml/2006/table">
            <a:tbl>
              <a:tblPr firstRow="1" firstCol="1" bandRow="1">
                <a:solidFill>
                  <a:srgbClr val="FFFFFF">
                    <a:alpha val="34902"/>
                  </a:srgbClr>
                </a:solidFill>
                <a:tableStyleId>{5C22544A-7EE6-4342-B048-85BDC9FD1C3A}</a:tableStyleId>
              </a:tblPr>
              <a:tblGrid>
                <a:gridCol w="6332892">
                  <a:extLst>
                    <a:ext uri="{9D8B030D-6E8A-4147-A177-3AD203B41FA5}">
                      <a16:colId xmlns:a16="http://schemas.microsoft.com/office/drawing/2014/main" val="1350970158"/>
                    </a:ext>
                  </a:extLst>
                </a:gridCol>
                <a:gridCol w="158022">
                  <a:extLst>
                    <a:ext uri="{9D8B030D-6E8A-4147-A177-3AD203B41FA5}">
                      <a16:colId xmlns:a16="http://schemas.microsoft.com/office/drawing/2014/main" val="1502454396"/>
                    </a:ext>
                  </a:extLst>
                </a:gridCol>
                <a:gridCol w="6979024">
                  <a:extLst>
                    <a:ext uri="{9D8B030D-6E8A-4147-A177-3AD203B41FA5}">
                      <a16:colId xmlns:a16="http://schemas.microsoft.com/office/drawing/2014/main" val="946197620"/>
                    </a:ext>
                  </a:extLst>
                </a:gridCol>
              </a:tblGrid>
              <a:tr h="1818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AU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B</a:t>
                      </a:r>
                      <a:r>
                        <a:rPr lang="en-US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y December 2024, OSCA will have …</a:t>
                      </a:r>
                      <a:endParaRPr lang="en-US" sz="1700" b="1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b="1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en-US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y December 2024, the C&amp;S Committee will have …</a:t>
                      </a:r>
                    </a:p>
                  </a:txBody>
                  <a:tcPr marL="66311" marR="6631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885035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b="1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R w="12700" cmpd="sng">
                      <a:noFill/>
                    </a:lnR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b="1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b="1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954890"/>
                  </a:ext>
                </a:extLst>
              </a:tr>
              <a:tr h="431788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r>
                        <a:rPr lang="en-AU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Strengthened OSCA’s role in </a:t>
                      </a:r>
                      <a:r>
                        <a:rPr lang="en-AU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governance</a:t>
                      </a:r>
                      <a:r>
                        <a:rPr lang="en-AU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.</a:t>
                      </a: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 err="1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ised</a:t>
                      </a: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OUs with Clubs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-developed a ‘C&amp;S Charter’ with the Clubs</a:t>
                      </a: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4138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470895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428433"/>
                  </a:ext>
                </a:extLst>
              </a:tr>
              <a:tr h="717671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2"/>
                      </a:pPr>
                      <a:r>
                        <a:rPr lang="en-US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Strengthened and broadened OSCA-related </a:t>
                      </a:r>
                      <a:r>
                        <a:rPr lang="en-US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connections</a:t>
                      </a:r>
                      <a:r>
                        <a:rPr lang="en-US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 with the School and the wider School community.</a:t>
                      </a: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nected Year 12 boys and YOBs to OSCA’s clubs &amp; societies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ported membership marketing for OSCA’s clubs &amp; societies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lved club access issues with the School </a:t>
                      </a: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178145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2"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919532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2"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332288"/>
                  </a:ext>
                </a:extLst>
              </a:tr>
              <a:tr h="841886">
                <a:tc>
                  <a:txBody>
                    <a:bodyPr/>
                    <a:lstStyle/>
                    <a:p>
                      <a:pPr marL="342900" marR="0" lvl="0" indent="-342900" algn="l" defTabSz="109728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en-US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Supported more Old Boys to </a:t>
                      </a:r>
                      <a:r>
                        <a:rPr lang="en-US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thrive</a:t>
                      </a:r>
                      <a:r>
                        <a:rPr lang="en-US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, with a particular focus on engaging and supporting </a:t>
                      </a:r>
                      <a:r>
                        <a:rPr lang="en-US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YOBs.</a:t>
                      </a:r>
                      <a:endParaRPr lang="en-US" sz="1700" b="1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cated the physical and emotional well-being benefits of participating in OSCA clubs and societies 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luded an explicit objective to help members to thrive within the C&amp;S Charter</a:t>
                      </a: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261478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marR="0" lvl="0" indent="-342900" algn="l" defTabSz="109728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endParaRPr lang="en-US" sz="1700" b="1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81020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marR="0" lvl="0" indent="-342900" algn="l" defTabSz="109728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747119"/>
                  </a:ext>
                </a:extLst>
              </a:tr>
              <a:tr h="573966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4"/>
                      </a:pPr>
                      <a:r>
                        <a:rPr lang="en-AU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Improved OSCA’s </a:t>
                      </a:r>
                      <a:r>
                        <a:rPr lang="en-AU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understanding of its alumni community</a:t>
                      </a:r>
                      <a:r>
                        <a:rPr lang="en-AU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, key segments and the unique life journeys within them, and how greater support might be provided.</a:t>
                      </a: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couraged clubs their members to use </a:t>
                      </a:r>
                      <a:r>
                        <a:rPr lang="en-US" sz="1700" dirty="0" err="1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SCAConnect</a:t>
                      </a: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rveyed the membership needs of OSCA’s clubs &amp; societies</a:t>
                      </a:r>
                    </a:p>
                  </a:txBody>
                  <a:tcPr marL="66311" marR="6631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8264841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4"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454771"/>
                  </a:ext>
                </a:extLst>
              </a:tr>
              <a:tr h="181832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4"/>
                      </a:pP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736172"/>
                  </a:ext>
                </a:extLst>
              </a:tr>
              <a:tr h="377899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+mj-lt"/>
                        <a:buAutoNum type="arabicPeriod" startAt="5"/>
                      </a:pPr>
                      <a:r>
                        <a:rPr lang="en-AU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Facilitated opportunities for members of the Scotch Family to contribute to </a:t>
                      </a:r>
                      <a:r>
                        <a:rPr lang="en-AU" sz="1700" b="1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social enterprise </a:t>
                      </a:r>
                      <a:r>
                        <a:rPr lang="en-AU" sz="1700" b="0" dirty="0">
                          <a:solidFill>
                            <a:schemeClr val="tx1"/>
                          </a:solidFill>
                          <a:effectLst/>
                          <a:latin typeface="Helvetica" pitchFamily="2" charset="0"/>
                        </a:rPr>
                        <a:t>beyond Scotch.</a:t>
                      </a:r>
                      <a:endParaRPr lang="en-US" sz="1700" b="0" dirty="0">
                        <a:solidFill>
                          <a:schemeClr val="tx1"/>
                        </a:solidFill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dirty="0">
                        <a:effectLst/>
                        <a:latin typeface="Helvetica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311" marR="66311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dirty="0">
                          <a:effectLst/>
                          <a:latin typeface="Helvetica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ported the creation of an Old Scotch “Social Enterprise” club </a:t>
                      </a:r>
                    </a:p>
                  </a:txBody>
                  <a:tcPr marL="66311" marR="66311" marT="0" marB="0">
                    <a:solidFill>
                      <a:srgbClr val="C40D3C">
                        <a:alpha val="3411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1301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6095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F88D79-27F0-8D40-A9B2-8F4149A0E0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32720" y="7627621"/>
            <a:ext cx="3291840" cy="438150"/>
          </a:xfrm>
        </p:spPr>
        <p:txBody>
          <a:bodyPr/>
          <a:lstStyle/>
          <a:p>
            <a:fld id="{2C716F5E-C680-AF4F-BDC2-3FF5860AD2A3}" type="slidenum">
              <a:rPr lang="en-US" smtClean="0"/>
              <a:t>5</a:t>
            </a:fld>
            <a:endParaRPr lang="en-US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A5C25325-915B-E643-A552-191FE840E568}"/>
              </a:ext>
            </a:extLst>
          </p:cNvPr>
          <p:cNvSpPr txBox="1">
            <a:spLocks/>
          </p:cNvSpPr>
          <p:nvPr/>
        </p:nvSpPr>
        <p:spPr>
          <a:xfrm>
            <a:off x="5628289" y="2983561"/>
            <a:ext cx="8639503" cy="18367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b="0" i="0" kern="1200" baseline="0">
                <a:solidFill>
                  <a:srgbClr val="C40D3C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r>
              <a:rPr lang="en-US" b="1" dirty="0"/>
              <a:t>02</a:t>
            </a:r>
            <a:r>
              <a:rPr lang="en-US" dirty="0"/>
              <a:t> | </a:t>
            </a:r>
            <a:r>
              <a:rPr lang="en-US" dirty="0">
                <a:latin typeface="Helvetica Light" panose="020B0403020202020204" pitchFamily="34" charset="0"/>
              </a:rPr>
              <a:t>Access to the school and its facilities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523F2A4-CFE8-AC49-B0CF-F8CE44BA88D3}"/>
              </a:ext>
            </a:extLst>
          </p:cNvPr>
          <p:cNvSpPr txBox="1">
            <a:spLocks/>
          </p:cNvSpPr>
          <p:nvPr/>
        </p:nvSpPr>
        <p:spPr>
          <a:xfrm>
            <a:off x="5738648" y="2663937"/>
            <a:ext cx="9758855" cy="23182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Ross </a:t>
            </a:r>
            <a:r>
              <a:rPr lang="en-US" sz="2400" i="1" dirty="0" err="1">
                <a:solidFill>
                  <a:srgbClr val="C40D3C"/>
                </a:solidFill>
                <a:latin typeface="Helvetica Light Oblique" panose="020B0403020202020204" pitchFamily="34" charset="0"/>
              </a:rPr>
              <a:t>Congleton</a:t>
            </a:r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, Bursar, Scotch College</a:t>
            </a:r>
          </a:p>
        </p:txBody>
      </p:sp>
    </p:spTree>
    <p:extLst>
      <p:ext uri="{BB962C8B-B14F-4D97-AF65-F5344CB8AC3E}">
        <p14:creationId xmlns:p14="http://schemas.microsoft.com/office/powerpoint/2010/main" val="1882851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04A97C-06D6-4222-ACEE-393D2900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917" y="1110498"/>
            <a:ext cx="13681075" cy="528651"/>
          </a:xfrm>
        </p:spPr>
        <p:txBody>
          <a:bodyPr>
            <a:normAutofit fontScale="90000"/>
          </a:bodyPr>
          <a:lstStyle/>
          <a:p>
            <a:r>
              <a:rPr lang="en-US" dirty="0"/>
              <a:t>OSCA’s Clubs have raised concerns about School Acc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8FAFF14-1DF7-45FB-96A6-8BFB46F6A795}"/>
              </a:ext>
            </a:extLst>
          </p:cNvPr>
          <p:cNvSpPr txBox="1"/>
          <p:nvPr/>
        </p:nvSpPr>
        <p:spPr>
          <a:xfrm>
            <a:off x="682917" y="2210634"/>
            <a:ext cx="13035775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Helvetica" pitchFamily="2" charset="0"/>
              </a:rPr>
              <a:t>The School’s Philosophy on Club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Does the School continue to welcome the reasonable use of school facilities by Clubs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Has the approach to allowing access to school facilities changed?</a:t>
            </a:r>
          </a:p>
          <a:p>
            <a:endParaRPr lang="en-US" dirty="0">
              <a:latin typeface="Helvetica Light" panose="020B0403020202020204" pitchFamily="34" charset="0"/>
            </a:endParaRPr>
          </a:p>
          <a:p>
            <a:r>
              <a:rPr lang="en-US" dirty="0">
                <a:latin typeface="Helvetica" pitchFamily="2" charset="0"/>
              </a:rPr>
              <a:t>The Booking Proc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The booking process is convoluted and inefficient. Can this be improved 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hat are the guidelines used by the Events Department in deciding and making bookings?</a:t>
            </a:r>
          </a:p>
          <a:p>
            <a:endParaRPr lang="en-US" dirty="0">
              <a:latin typeface="Helvetica Light" panose="020B0403020202020204" pitchFamily="34" charset="0"/>
            </a:endParaRPr>
          </a:p>
          <a:p>
            <a:r>
              <a:rPr lang="en-US" dirty="0">
                <a:latin typeface="Helvetica" pitchFamily="2" charset="0"/>
              </a:rPr>
              <a:t>Cleaning Char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New ‘cleaning’ charges feel exorbitant (i.e</a:t>
            </a:r>
            <a:r>
              <a:rPr lang="en-US">
                <a:latin typeface="Helvetica Light" panose="020B0403020202020204" pitchFamily="34" charset="0"/>
              </a:rPr>
              <a:t>., $400 </a:t>
            </a:r>
            <a:r>
              <a:rPr lang="en-US" dirty="0">
                <a:latin typeface="Helvetica Light" panose="020B0403020202020204" pitchFamily="34" charset="0"/>
              </a:rPr>
              <a:t>fee for use of the </a:t>
            </a:r>
            <a:r>
              <a:rPr lang="en-US" dirty="0" err="1">
                <a:latin typeface="Helvetica Light" panose="020B0403020202020204" pitchFamily="34" charset="0"/>
              </a:rPr>
              <a:t>Boykett</a:t>
            </a:r>
            <a:r>
              <a:rPr lang="en-US" dirty="0">
                <a:latin typeface="Helvetica Light" panose="020B0403020202020204" pitchFamily="34" charset="0"/>
              </a:rPr>
              <a:t> Room, excluding food and drink), especially for smaller club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hat is the policy on cleaning fees/charges and how are they calculated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ill there by any complimentary use of function venues, to encourage ‘giving back’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Helvetica Light" panose="020B0403020202020204" pitchFamily="34" charset="0"/>
            </a:endParaRPr>
          </a:p>
          <a:p>
            <a:r>
              <a:rPr lang="en-US" dirty="0">
                <a:latin typeface="Helvetica" pitchFamily="2" charset="0"/>
              </a:rPr>
              <a:t>Interaction with Current Stu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hat is the policy in relation to the involvement of current students in clubs?  There is inconsistency in the application of these standard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hat are the School’s major concerns regarding club interaction with current student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hat can the clubs demonstrate to reduce these concerns? For example, what standards must the clubs meet?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C7B1FB8-F336-429B-B7C0-49F157E56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323165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5016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F88D79-27F0-8D40-A9B2-8F4149A0E0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32720" y="7627621"/>
            <a:ext cx="3291840" cy="438150"/>
          </a:xfrm>
        </p:spPr>
        <p:txBody>
          <a:bodyPr/>
          <a:lstStyle/>
          <a:p>
            <a:fld id="{2C716F5E-C680-AF4F-BDC2-3FF5860AD2A3}" type="slidenum">
              <a:rPr lang="en-US" smtClean="0"/>
              <a:t>7</a:t>
            </a:fld>
            <a:endParaRPr lang="en-US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A5C25325-915B-E643-A552-191FE840E568}"/>
              </a:ext>
            </a:extLst>
          </p:cNvPr>
          <p:cNvSpPr txBox="1">
            <a:spLocks/>
          </p:cNvSpPr>
          <p:nvPr/>
        </p:nvSpPr>
        <p:spPr>
          <a:xfrm>
            <a:off x="5628289" y="2983561"/>
            <a:ext cx="8639503" cy="18367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b="0" i="0" kern="1200" baseline="0">
                <a:solidFill>
                  <a:srgbClr val="C40D3C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r>
              <a:rPr lang="en-US" b="1" dirty="0"/>
              <a:t>03</a:t>
            </a:r>
            <a:r>
              <a:rPr lang="en-US" dirty="0"/>
              <a:t> | </a:t>
            </a:r>
            <a:r>
              <a:rPr lang="en-US" dirty="0">
                <a:latin typeface="Helvetica Light" panose="020B0403020202020204" pitchFamily="34" charset="0"/>
              </a:rPr>
              <a:t>Managing our risks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523F2A4-CFE8-AC49-B0CF-F8CE44BA88D3}"/>
              </a:ext>
            </a:extLst>
          </p:cNvPr>
          <p:cNvSpPr txBox="1">
            <a:spLocks/>
          </p:cNvSpPr>
          <p:nvPr/>
        </p:nvSpPr>
        <p:spPr>
          <a:xfrm>
            <a:off x="5738649" y="2202589"/>
            <a:ext cx="9758855" cy="23182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Stephen Webster, OSCA Vice President</a:t>
            </a:r>
          </a:p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Danny Tan, OSCA Clubs &amp; Societies Committee </a:t>
            </a:r>
          </a:p>
        </p:txBody>
      </p:sp>
    </p:spTree>
    <p:extLst>
      <p:ext uri="{BB962C8B-B14F-4D97-AF65-F5344CB8AC3E}">
        <p14:creationId xmlns:p14="http://schemas.microsoft.com/office/powerpoint/2010/main" val="660867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404A97C-06D6-4222-ACEE-393D2900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479878"/>
            <a:ext cx="13681075" cy="528651"/>
          </a:xfrm>
        </p:spPr>
        <p:txBody>
          <a:bodyPr>
            <a:normAutofit fontScale="90000"/>
          </a:bodyPr>
          <a:lstStyle/>
          <a:p>
            <a:r>
              <a:rPr lang="en-US" dirty="0"/>
              <a:t>Two approaches to Risk Managemen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ABC3ED-6DB8-48CB-964A-D612CC9F5A00}"/>
              </a:ext>
            </a:extLst>
          </p:cNvPr>
          <p:cNvSpPr txBox="1"/>
          <p:nvPr/>
        </p:nvSpPr>
        <p:spPr>
          <a:xfrm>
            <a:off x="2066135" y="2245227"/>
            <a:ext cx="5363429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C40D3C"/>
                </a:solidFill>
              </a:rPr>
              <a:t>Memorandum of Understanding (MOU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>
                <a:latin typeface="Helvetica Light" panose="020B0403020202020204" pitchFamily="34" charset="0"/>
              </a:rPr>
              <a:t>Explicit approach to articulating the benefits OSCA provides to clubs, and the conduct OSCA requires in return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latin typeface="Helvetica Light" panose="020B0403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Badminton – complet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Basketball – complet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Cardinal – complete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Collegians - complet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Cricket – complete 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Film – complete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Football – complete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Athletics – in progres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Pipes and Drums – in progres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2EDCE9-F57A-4DD9-AD81-0F44416B0C45}"/>
              </a:ext>
            </a:extLst>
          </p:cNvPr>
          <p:cNvSpPr txBox="1"/>
          <p:nvPr/>
        </p:nvSpPr>
        <p:spPr>
          <a:xfrm>
            <a:off x="7667014" y="2245227"/>
            <a:ext cx="6488723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rgbClr val="C40D3C"/>
                </a:solidFill>
              </a:rPr>
              <a:t>Clubs &amp; Societies Charter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>
                <a:latin typeface="Helvetica Light" panose="020B0403020202020204" pitchFamily="34" charset="0"/>
              </a:rPr>
              <a:t>A principle-based approach to increasing awareness of key risks and issues. For example: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Adhering to all applicable school policies and procedures such as the Safeguarding Children Commitment and Anaphylaxis Policy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Supporting the mission, purposes and reputation of the School &amp; OSCA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Providing a safe and welcoming environment so that all participants can enjoy Club activities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Promoting engagement between club members and the school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here applicable, working towards becoming incorporated associations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Helvetica Light" panose="020B0403020202020204" pitchFamily="34" charset="0"/>
              </a:rPr>
              <a:t>Working to protect School and OSCA intellectual proper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0B80A4-77A0-4BA5-8BCD-E38658298C3E}"/>
              </a:ext>
            </a:extLst>
          </p:cNvPr>
          <p:cNvSpPr/>
          <p:nvPr/>
        </p:nvSpPr>
        <p:spPr>
          <a:xfrm>
            <a:off x="474662" y="2386549"/>
            <a:ext cx="1354137" cy="931984"/>
          </a:xfrm>
          <a:prstGeom prst="rect">
            <a:avLst/>
          </a:prstGeom>
          <a:solidFill>
            <a:srgbClr val="C40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800" b="1" dirty="0"/>
              <a:t>What is it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58361F-C840-4047-90B2-C4D6F630A744}"/>
              </a:ext>
            </a:extLst>
          </p:cNvPr>
          <p:cNvSpPr/>
          <p:nvPr/>
        </p:nvSpPr>
        <p:spPr>
          <a:xfrm>
            <a:off x="474663" y="4226076"/>
            <a:ext cx="1354137" cy="1125415"/>
          </a:xfrm>
          <a:prstGeom prst="rect">
            <a:avLst/>
          </a:prstGeom>
          <a:solidFill>
            <a:srgbClr val="C40D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b="1" dirty="0"/>
              <a:t>Current status</a:t>
            </a:r>
            <a:endParaRPr lang="en-US" sz="18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22E1CB-452F-4528-AD73-1C8C402B113E}"/>
              </a:ext>
            </a:extLst>
          </p:cNvPr>
          <p:cNvSpPr txBox="1"/>
          <p:nvPr/>
        </p:nvSpPr>
        <p:spPr>
          <a:xfrm>
            <a:off x="474663" y="1313116"/>
            <a:ext cx="1357545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rgbClr val="C40D3C"/>
                </a:solidFill>
                <a:latin typeface="Helvetica Light" panose="020B0403020202020204" pitchFamily="34" charset="0"/>
              </a:rPr>
              <a:t>To ensure that every OSCA club and society appreciates, and takes reasonable steps to manage, the critical risks associated with operating within the Scotch community. </a:t>
            </a:r>
          </a:p>
        </p:txBody>
      </p:sp>
    </p:spTree>
    <p:extLst>
      <p:ext uri="{BB962C8B-B14F-4D97-AF65-F5344CB8AC3E}">
        <p14:creationId xmlns:p14="http://schemas.microsoft.com/office/powerpoint/2010/main" val="35890664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2F88D79-27F0-8D40-A9B2-8F4149A0E0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32720" y="7627621"/>
            <a:ext cx="3291840" cy="438150"/>
          </a:xfrm>
        </p:spPr>
        <p:txBody>
          <a:bodyPr/>
          <a:lstStyle/>
          <a:p>
            <a:fld id="{2C716F5E-C680-AF4F-BDC2-3FF5860AD2A3}" type="slidenum">
              <a:rPr lang="en-US" smtClean="0"/>
              <a:t>9</a:t>
            </a:fld>
            <a:endParaRPr lang="en-US"/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A5C25325-915B-E643-A552-191FE840E568}"/>
              </a:ext>
            </a:extLst>
          </p:cNvPr>
          <p:cNvSpPr txBox="1">
            <a:spLocks/>
          </p:cNvSpPr>
          <p:nvPr/>
        </p:nvSpPr>
        <p:spPr>
          <a:xfrm>
            <a:off x="5613299" y="2663016"/>
            <a:ext cx="8639503" cy="183678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280" b="0" i="0" kern="1200" baseline="0">
                <a:solidFill>
                  <a:srgbClr val="C40D3C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r>
              <a:rPr lang="en-US" b="1" dirty="0"/>
              <a:t>04</a:t>
            </a:r>
            <a:r>
              <a:rPr lang="en-US" dirty="0"/>
              <a:t> | </a:t>
            </a:r>
            <a:r>
              <a:rPr lang="en-US" dirty="0">
                <a:latin typeface="Helvetica Light" panose="020B0403020202020204" pitchFamily="34" charset="0"/>
              </a:rPr>
              <a:t>Marketing support for clubs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523F2A4-CFE8-AC49-B0CF-F8CE44BA88D3}"/>
              </a:ext>
            </a:extLst>
          </p:cNvPr>
          <p:cNvSpPr txBox="1">
            <a:spLocks/>
          </p:cNvSpPr>
          <p:nvPr/>
        </p:nvSpPr>
        <p:spPr>
          <a:xfrm>
            <a:off x="5673259" y="2294016"/>
            <a:ext cx="9758855" cy="23182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10972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i="1" dirty="0">
                <a:solidFill>
                  <a:srgbClr val="C40D3C"/>
                </a:solidFill>
                <a:latin typeface="Helvetica Light Oblique" panose="020B0403020202020204" pitchFamily="34" charset="0"/>
              </a:rPr>
              <a:t>Caroline Taylor, OSCA Events &amp; Communications</a:t>
            </a:r>
          </a:p>
        </p:txBody>
      </p:sp>
    </p:spTree>
    <p:extLst>
      <p:ext uri="{BB962C8B-B14F-4D97-AF65-F5344CB8AC3E}">
        <p14:creationId xmlns:p14="http://schemas.microsoft.com/office/powerpoint/2010/main" val="3892765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1v/TwmIpXpGjFoTRIGJ9QIFAAAAAAADAAAAAAADAAAAAwADAAAAAAD///////8DAAEA////////BAAAAAMAEAALBH3y+NPqekCCpTarqqJva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Fv/TwmIpXpGjFoTRIGJ9QIDRGF0YQAbAAAABExpbmtlZFNoYXBlRGF0YQAFAAAAAAACTmFtZQAZAAAATGlua2VkU2hhcGVzRGF0YVByb3BlcnR5ABBWZXJzaW9uAAAAAAAJTGFzdFdyaXRlABpip0B4AQAAAAEA/////50AnQAAAAVfaWQAEAAAAAQEffL40+p6QIKlNquqom9qA0RhdGEAKgAAAAhQcmVzZW50YXRpb25TY2FubmVkRm9yTGlua2VkU2hhcGVzAAEAAk5hbWUAJAAAAExpbmtlZFNoYXBlUHJlc2VudGF0aW9uU2V0dGluZ3NEYXRhABBWZXJzaW9uAAAAAAAJTGFzdFdyaXRlADJip0B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83166467785907"/>
</p:tagLst>
</file>

<file path=ppt/theme/theme1.xml><?xml version="1.0" encoding="utf-8"?>
<a:theme xmlns:a="http://schemas.openxmlformats.org/drawingml/2006/main" name="RRA-May2021">
  <a:themeElements>
    <a:clrScheme name="RussellReynolds-Jan21">
      <a:dk1>
        <a:sysClr val="windowText" lastClr="000000"/>
      </a:dk1>
      <a:lt1>
        <a:sysClr val="window" lastClr="FFFFFF"/>
      </a:lt1>
      <a:dk2>
        <a:srgbClr val="212121"/>
      </a:dk2>
      <a:lt2>
        <a:srgbClr val="F2F2F2"/>
      </a:lt2>
      <a:accent1>
        <a:srgbClr val="0A2FB5"/>
      </a:accent1>
      <a:accent2>
        <a:srgbClr val="4A0080"/>
      </a:accent2>
      <a:accent3>
        <a:srgbClr val="117C96"/>
      </a:accent3>
      <a:accent4>
        <a:srgbClr val="990C47"/>
      </a:accent4>
      <a:accent5>
        <a:srgbClr val="959392"/>
      </a:accent5>
      <a:accent6>
        <a:srgbClr val="585656"/>
      </a:accent6>
      <a:hlink>
        <a:srgbClr val="0A2FB5"/>
      </a:hlink>
      <a:folHlink>
        <a:srgbClr val="4A0080"/>
      </a:folHlink>
    </a:clrScheme>
    <a:fontScheme name="RRA-Times-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0A2FB5"/>
    </a:custClr>
    <a:custClr name="Mid Blue">
      <a:srgbClr val="2D53ED"/>
    </a:custClr>
    <a:custClr name="Light Blue">
      <a:srgbClr val="488CFF"/>
    </a:custClr>
    <a:custClr name="Pale Blue">
      <a:srgbClr val="BCDCFB"/>
    </a:custClr>
    <a:custClr name="Purple">
      <a:srgbClr val="4A0080"/>
    </a:custClr>
    <a:custClr name="Mid Purple">
      <a:srgbClr val="6500AD"/>
    </a:custClr>
    <a:custClr name="Light Purple">
      <a:srgbClr val="A167FF"/>
    </a:custClr>
    <a:custClr name="Pale Purple">
      <a:srgbClr val="DAB8FF"/>
    </a:custClr>
    <a:custClr name="Green">
      <a:srgbClr val="117C96"/>
    </a:custClr>
    <a:custClr name="Mid Green">
      <a:srgbClr val="00B2C7"/>
    </a:custClr>
    <a:custClr name="Light Green">
      <a:srgbClr val="21D8ED"/>
    </a:custClr>
    <a:custClr name="Pale Green">
      <a:srgbClr val="A6F5FF"/>
    </a:custClr>
    <a:custClr name="Burgundy">
      <a:srgbClr val="990C47"/>
    </a:custClr>
    <a:custClr name="Mid Burgundy">
      <a:srgbClr val="C7105C"/>
    </a:custClr>
    <a:custClr name="Light Burgundy">
      <a:srgbClr val="ED5A8F"/>
    </a:custClr>
    <a:custClr name="Pale Burgundy">
      <a:srgbClr val="FFD9E5"/>
    </a:custClr>
    <a:custClr name="White">
      <a:srgbClr val="FFFFFF"/>
    </a:custClr>
    <a:custClr name="Soft Grey">
      <a:srgbClr val="F2F2F2"/>
    </a:custClr>
    <a:custClr name="Pale Grey">
      <a:srgbClr val="DFDDDD"/>
    </a:custClr>
    <a:custClr name="Light Grey">
      <a:srgbClr val="959392"/>
    </a:custClr>
    <a:custClr name="Grey">
      <a:srgbClr val="585656"/>
    </a:custClr>
    <a:custClr name="Dark Grey">
      <a:srgbClr val="212121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Presentation7" id="{32829DAD-9142-4363-BE98-5D7466F54BF7}" vid="{673ACA26-11A2-40BB-A737-FF87E65B5F3A}"/>
    </a:ext>
  </a:extLst>
</a:theme>
</file>

<file path=ppt/theme/theme2.xml><?xml version="1.0" encoding="utf-8"?>
<a:theme xmlns:a="http://schemas.openxmlformats.org/drawingml/2006/main" name="Theme1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509C3DED-3EBD-E848-9207-292FBE569835}" vid="{685FFF02-5E2C-3D41-9A9F-D31394107F16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SC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SCA" id="{0990F5D2-EEDA-2D42-A922-69B82E85FB1D}" vid="{B32D6ECE-A169-6841-BBC7-AB2C47C4FD33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CA 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E0666CA9-B4BE-3947-AAC1-B45792A674EE}" vid="{8FF280F7-B17D-4F4D-A5F1-7E73C80EEF5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0A2FB5"/>
    </a:custClr>
    <a:custClr name="Mid Blue">
      <a:srgbClr val="2D53ED"/>
    </a:custClr>
    <a:custClr name="Light Blue">
      <a:srgbClr val="488CFF"/>
    </a:custClr>
    <a:custClr name="Pale Blue">
      <a:srgbClr val="BCDCFB"/>
    </a:custClr>
    <a:custClr name="Purple">
      <a:srgbClr val="4A0080"/>
    </a:custClr>
    <a:custClr name="Mid Purple">
      <a:srgbClr val="6500AD"/>
    </a:custClr>
    <a:custClr name="Light Purple">
      <a:srgbClr val="A167FF"/>
    </a:custClr>
    <a:custClr name="Pale Purple">
      <a:srgbClr val="DAB8FF"/>
    </a:custClr>
    <a:custClr name="Green">
      <a:srgbClr val="117C96"/>
    </a:custClr>
    <a:custClr name="Mid Green">
      <a:srgbClr val="00B2C7"/>
    </a:custClr>
    <a:custClr name="Light Green">
      <a:srgbClr val="21D8ED"/>
    </a:custClr>
    <a:custClr name="Pale Green">
      <a:srgbClr val="A6F5FF"/>
    </a:custClr>
    <a:custClr name="Burgundy">
      <a:srgbClr val="990C47"/>
    </a:custClr>
    <a:custClr name="Mid Burgundy">
      <a:srgbClr val="C7105C"/>
    </a:custClr>
    <a:custClr name="Light Burgundy">
      <a:srgbClr val="ED5A8F"/>
    </a:custClr>
    <a:custClr name="Pale Burgundy">
      <a:srgbClr val="FFD9E5"/>
    </a:custClr>
    <a:custClr name="White">
      <a:srgbClr val="FFFFFF"/>
    </a:custClr>
    <a:custClr name="Soft Grey">
      <a:srgbClr val="F2F2F2"/>
    </a:custClr>
    <a:custClr name="Pale Grey">
      <a:srgbClr val="DFDDDD"/>
    </a:custClr>
    <a:custClr name="Light Grey">
      <a:srgbClr val="959392"/>
    </a:custClr>
    <a:custClr name="Grey">
      <a:srgbClr val="585656"/>
    </a:custClr>
    <a:custClr name="Dark Grey">
      <a:srgbClr val="212121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0A2FB5"/>
    </a:custClr>
    <a:custClr name="Mid Blue">
      <a:srgbClr val="2D53ED"/>
    </a:custClr>
    <a:custClr name="Light Blue">
      <a:srgbClr val="488CFF"/>
    </a:custClr>
    <a:custClr name="Pale Blue">
      <a:srgbClr val="BCDCFB"/>
    </a:custClr>
    <a:custClr name="Purple">
      <a:srgbClr val="4A0080"/>
    </a:custClr>
    <a:custClr name="Mid Purple">
      <a:srgbClr val="6500AD"/>
    </a:custClr>
    <a:custClr name="Light Purple">
      <a:srgbClr val="A167FF"/>
    </a:custClr>
    <a:custClr name="Pale Purple">
      <a:srgbClr val="DAB8FF"/>
    </a:custClr>
    <a:custClr name="Green">
      <a:srgbClr val="117C96"/>
    </a:custClr>
    <a:custClr name="Mid Green">
      <a:srgbClr val="00B2C7"/>
    </a:custClr>
    <a:custClr name="Light Green">
      <a:srgbClr val="21D8ED"/>
    </a:custClr>
    <a:custClr name="Pale Green">
      <a:srgbClr val="A6F5FF"/>
    </a:custClr>
    <a:custClr name="Burgundy">
      <a:srgbClr val="990C47"/>
    </a:custClr>
    <a:custClr name="Mid Burgundy">
      <a:srgbClr val="C7105C"/>
    </a:custClr>
    <a:custClr name="Light Burgundy">
      <a:srgbClr val="ED5A8F"/>
    </a:custClr>
    <a:custClr name="Pale Burgundy">
      <a:srgbClr val="FFD9E5"/>
    </a:custClr>
    <a:custClr name="White">
      <a:srgbClr val="FFFFFF"/>
    </a:custClr>
    <a:custClr name="Soft Grey">
      <a:srgbClr val="F2F2F2"/>
    </a:custClr>
    <a:custClr name="Pale Grey">
      <a:srgbClr val="DFDDDD"/>
    </a:custClr>
    <a:custClr name="Light Grey">
      <a:srgbClr val="959392"/>
    </a:custClr>
    <a:custClr name="Grey">
      <a:srgbClr val="585656"/>
    </a:custClr>
    <a:custClr name="Dark Grey">
      <a:srgbClr val="212121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F9E65F51868541BBAF7E69A7EFB5F5" ma:contentTypeVersion="11" ma:contentTypeDescription="Create a new document." ma:contentTypeScope="" ma:versionID="67832315c72955ab65e7e62dc6007ee1">
  <xsd:schema xmlns:xsd="http://www.w3.org/2001/XMLSchema" xmlns:xs="http://www.w3.org/2001/XMLSchema" xmlns:p="http://schemas.microsoft.com/office/2006/metadata/properties" xmlns:ns2="a8ade491-35e1-43e4-a7eb-69ca35aaa672" xmlns:ns3="6a4abfad-366a-4b98-8bc9-d25310f62a3e" targetNamespace="http://schemas.microsoft.com/office/2006/metadata/properties" ma:root="true" ma:fieldsID="cccb2c4d448688b983d6919c7b8ec11b" ns2:_="" ns3:_="">
    <xsd:import namespace="a8ade491-35e1-43e4-a7eb-69ca35aaa672"/>
    <xsd:import namespace="6a4abfad-366a-4b98-8bc9-d25310f62a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de491-35e1-43e4-a7eb-69ca35aaa6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4abfad-366a-4b98-8bc9-d25310f62a3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162C260-EACB-41B5-90AB-28C1AD84D9EE}">
  <ds:schemaRefs>
    <ds:schemaRef ds:uri="6a4abfad-366a-4b98-8bc9-d25310f62a3e"/>
    <ds:schemaRef ds:uri="a8ade491-35e1-43e4-a7eb-69ca35aaa67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0C4598F-CA94-4E7F-9785-1F183767A0D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5DDCDF-34ED-4667-AAFE-9D5B08476D21}">
  <ds:schemaRefs>
    <ds:schemaRef ds:uri="http://schemas.microsoft.com/office/infopath/2007/PartnerControls"/>
    <ds:schemaRef ds:uri="http://purl.org/dc/elements/1.1/"/>
    <ds:schemaRef ds:uri="a8ade491-35e1-43e4-a7eb-69ca35aaa672"/>
    <ds:schemaRef ds:uri="http://schemas.microsoft.com/office/2006/metadata/properties"/>
    <ds:schemaRef ds:uri="6a4abfad-366a-4b98-8bc9-d25310f62a3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RA General PNB Deck</Template>
  <TotalTime>1793</TotalTime>
  <Words>1076</Words>
  <Application>Microsoft Macintosh PowerPoint</Application>
  <PresentationFormat>Custom</PresentationFormat>
  <Paragraphs>141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Arial</vt:lpstr>
      <vt:lpstr>Calibri</vt:lpstr>
      <vt:lpstr>Calibri Light</vt:lpstr>
      <vt:lpstr>Helvetica</vt:lpstr>
      <vt:lpstr>Helvetica Light</vt:lpstr>
      <vt:lpstr>Helvetica Light Oblique</vt:lpstr>
      <vt:lpstr>Segoe UI</vt:lpstr>
      <vt:lpstr>Times New Roman</vt:lpstr>
      <vt:lpstr>RRA-May2021</vt:lpstr>
      <vt:lpstr>Theme1</vt:lpstr>
      <vt:lpstr>1_Office Theme</vt:lpstr>
      <vt:lpstr>OSCA</vt:lpstr>
      <vt:lpstr>2_Office Theme</vt:lpstr>
      <vt:lpstr>OCA WHITE</vt:lpstr>
      <vt:lpstr>think-cell Slide</vt:lpstr>
      <vt:lpstr>PowerPoint Presentation</vt:lpstr>
      <vt:lpstr>Contents</vt:lpstr>
      <vt:lpstr>PowerPoint Presentation</vt:lpstr>
      <vt:lpstr>OSCA Goals</vt:lpstr>
      <vt:lpstr>PowerPoint Presentation</vt:lpstr>
      <vt:lpstr>OSCA’s Clubs have raised concerns about School Access</vt:lpstr>
      <vt:lpstr>PowerPoint Presentation</vt:lpstr>
      <vt:lpstr>Two approaches to Risk Management </vt:lpstr>
      <vt:lpstr>PowerPoint Presentation</vt:lpstr>
      <vt:lpstr>Leveraging OSCA’s digital presence to grow </vt:lpstr>
      <vt:lpstr>Great Scot Magazine</vt:lpstr>
      <vt:lpstr>OSCAConnect  www.oscaconnect.com.au</vt:lpstr>
      <vt:lpstr>OSCAnet  www.oscanet.com.au</vt:lpstr>
      <vt:lpstr>PowerPoint Presentation</vt:lpstr>
      <vt:lpstr>Sponsorship – investing in the future of clubs</vt:lpstr>
      <vt:lpstr>Merit Awards – recognising contributions to clubs </vt:lpstr>
    </vt:vector>
  </TitlesOfParts>
  <Company>Russell Reynolds Asso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Guthridge</dc:creator>
  <cp:lastModifiedBy>Microsoft Office User</cp:lastModifiedBy>
  <cp:revision>14</cp:revision>
  <cp:lastPrinted>2019-08-09T01:02:42Z</cp:lastPrinted>
  <dcterms:created xsi:type="dcterms:W3CDTF">2022-06-19T07:09:33Z</dcterms:created>
  <dcterms:modified xsi:type="dcterms:W3CDTF">2022-06-22T04:4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F9E65F51868541BBAF7E69A7EFB5F5</vt:lpwstr>
  </property>
</Properties>
</file>